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5.xml" ContentType="application/vnd.openxmlformats-officedocument.themeOverride+xml"/>
  <Override PartName="/ppt/tags/tag22.xml" ContentType="application/vnd.openxmlformats-officedocument.presentationml.tags+xml"/>
  <Override PartName="/ppt/theme/themeOverride6.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Override7.xml" ContentType="application/vnd.openxmlformats-officedocument.themeOverride+xml"/>
  <Override PartName="/ppt/tags/tag25.xml" ContentType="application/vnd.openxmlformats-officedocument.presentationml.tags+xml"/>
  <Override PartName="/ppt/theme/themeOverride8.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6.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7.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8.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9.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0.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41.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42.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43.xml" ContentType="application/vnd.openxmlformats-officedocument.presentationml.tag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4.xml" ContentType="application/vnd.openxmlformats-officedocument.presentationml.tag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5.xml" ContentType="application/vnd.openxmlformats-officedocument.presentationml.tags+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46.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7.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8.xml" ContentType="application/vnd.openxmlformats-officedocument.presentationml.tags+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49.xml" ContentType="application/vnd.openxmlformats-officedocument.presentationml.tags+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Override9.xml" ContentType="application/vnd.openxmlformats-officedocument.themeOverride+xml"/>
  <Override PartName="/ppt/tags/tag6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60"/>
  </p:notesMasterIdLst>
  <p:handoutMasterIdLst>
    <p:handoutMasterId r:id="rId61"/>
  </p:handoutMasterIdLst>
  <p:sldIdLst>
    <p:sldId id="256" r:id="rId2"/>
    <p:sldId id="280" r:id="rId3"/>
    <p:sldId id="279" r:id="rId4"/>
    <p:sldId id="278" r:id="rId5"/>
    <p:sldId id="328" r:id="rId6"/>
    <p:sldId id="329" r:id="rId7"/>
    <p:sldId id="330" r:id="rId8"/>
    <p:sldId id="331" r:id="rId9"/>
    <p:sldId id="332" r:id="rId10"/>
    <p:sldId id="333" r:id="rId11"/>
    <p:sldId id="334" r:id="rId12"/>
    <p:sldId id="335" r:id="rId13"/>
    <p:sldId id="336" r:id="rId14"/>
    <p:sldId id="337" r:id="rId15"/>
    <p:sldId id="338" r:id="rId16"/>
    <p:sldId id="339" r:id="rId17"/>
    <p:sldId id="340" r:id="rId18"/>
    <p:sldId id="341" r:id="rId19"/>
    <p:sldId id="282" r:id="rId20"/>
    <p:sldId id="342" r:id="rId21"/>
    <p:sldId id="270" r:id="rId22"/>
    <p:sldId id="283" r:id="rId23"/>
    <p:sldId id="287" r:id="rId24"/>
    <p:sldId id="288" r:id="rId25"/>
    <p:sldId id="289" r:id="rId26"/>
    <p:sldId id="290" r:id="rId27"/>
    <p:sldId id="291" r:id="rId28"/>
    <p:sldId id="292" r:id="rId29"/>
    <p:sldId id="315" r:id="rId30"/>
    <p:sldId id="293" r:id="rId31"/>
    <p:sldId id="309" r:id="rId32"/>
    <p:sldId id="310" r:id="rId33"/>
    <p:sldId id="311" r:id="rId34"/>
    <p:sldId id="312" r:id="rId35"/>
    <p:sldId id="313" r:id="rId36"/>
    <p:sldId id="314" r:id="rId37"/>
    <p:sldId id="316" r:id="rId38"/>
    <p:sldId id="317" r:id="rId39"/>
    <p:sldId id="318" r:id="rId40"/>
    <p:sldId id="320" r:id="rId41"/>
    <p:sldId id="321" r:id="rId42"/>
    <p:sldId id="322" r:id="rId43"/>
    <p:sldId id="325" r:id="rId44"/>
    <p:sldId id="326" r:id="rId45"/>
    <p:sldId id="327" r:id="rId46"/>
    <p:sldId id="343" r:id="rId47"/>
    <p:sldId id="344" r:id="rId48"/>
    <p:sldId id="345" r:id="rId49"/>
    <p:sldId id="346" r:id="rId50"/>
    <p:sldId id="347" r:id="rId51"/>
    <p:sldId id="348" r:id="rId52"/>
    <p:sldId id="349" r:id="rId53"/>
    <p:sldId id="350" r:id="rId54"/>
    <p:sldId id="351" r:id="rId55"/>
    <p:sldId id="352" r:id="rId56"/>
    <p:sldId id="353" r:id="rId57"/>
    <p:sldId id="354" r:id="rId58"/>
    <p:sldId id="261" r:id="rId59"/>
  </p:sldIdLst>
  <p:sldSz cx="12192000" cy="6858000"/>
  <p:notesSz cx="6858000" cy="9144000"/>
  <p:custDataLst>
    <p:tags r:id="rId6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8495"/>
    <a:srgbClr val="1F5CFA"/>
    <a:srgbClr val="37DEFF"/>
    <a:srgbClr val="00AFD2"/>
    <a:srgbClr val="E6E6E6"/>
    <a:srgbClr val="FF5B5B"/>
    <a:srgbClr val="D00000"/>
    <a:srgbClr val="FFABAB"/>
    <a:srgbClr val="B8000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2" autoAdjust="0"/>
  </p:normalViewPr>
  <p:slideViewPr>
    <p:cSldViewPr snapToGrid="0">
      <p:cViewPr varScale="1">
        <p:scale>
          <a:sx n="50" d="100"/>
          <a:sy n="50" d="100"/>
        </p:scale>
        <p:origin x="53" y="96"/>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2292"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handoutMaster" Target="handoutMasters/handout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97DB469-D29C-4117-9C10-0D7279226841}" type="doc">
      <dgm:prSet loTypeId="urn:microsoft.com/office/officeart/2009/3/layout/RandomtoResultProcess" loCatId="process" qsTypeId="urn:microsoft.com/office/officeart/2005/8/quickstyle/simple1" qsCatId="simple" csTypeId="urn:microsoft.com/office/officeart/2005/8/colors/accent0_3" csCatId="mainScheme" phldr="1"/>
      <dgm:spPr/>
      <dgm:t>
        <a:bodyPr/>
        <a:lstStyle/>
        <a:p>
          <a:endParaRPr lang="zh-CN" altLang="en-US"/>
        </a:p>
      </dgm:t>
    </dgm:pt>
    <dgm:pt modelId="{81C49A2D-9A6A-43CD-BF5B-FF5AC89224E6}">
      <dgm:prSet phldrT="[文本]"/>
      <dgm:spPr/>
      <dgm:t>
        <a:bodyPr/>
        <a:lstStyle/>
        <a:p>
          <a:endParaRPr lang="zh-CN" altLang="en-US" dirty="0"/>
        </a:p>
      </dgm:t>
    </dgm:pt>
    <dgm:pt modelId="{70397890-8352-4D73-AD7C-86FD0C16E126}" type="parTrans" cxnId="{0C83F976-065E-438E-9ECD-488FED5169E2}">
      <dgm:prSet/>
      <dgm:spPr/>
      <dgm:t>
        <a:bodyPr/>
        <a:lstStyle/>
        <a:p>
          <a:endParaRPr lang="zh-CN" altLang="en-US"/>
        </a:p>
      </dgm:t>
    </dgm:pt>
    <dgm:pt modelId="{20348B54-A2FE-4ADE-BD38-827C5CF3AB4A}" type="sibTrans" cxnId="{0C83F976-065E-438E-9ECD-488FED5169E2}">
      <dgm:prSet/>
      <dgm:spPr/>
      <dgm:t>
        <a:bodyPr/>
        <a:lstStyle/>
        <a:p>
          <a:endParaRPr lang="zh-CN" altLang="en-US"/>
        </a:p>
      </dgm:t>
    </dgm:pt>
    <dgm:pt modelId="{5A236A1C-4D08-488C-A1D5-497097A60236}">
      <dgm:prSet phldrT="[文本]"/>
      <dgm:spPr/>
      <dgm:t>
        <a:bodyPr/>
        <a:lstStyle/>
        <a:p>
          <a:endParaRPr lang="zh-CN" altLang="en-US" dirty="0"/>
        </a:p>
      </dgm:t>
    </dgm:pt>
    <dgm:pt modelId="{86915558-431A-458E-893B-8EDC4406BE32}" type="parTrans" cxnId="{C71C5425-84BB-413C-BDDA-4A9ADEA92366}">
      <dgm:prSet/>
      <dgm:spPr/>
      <dgm:t>
        <a:bodyPr/>
        <a:lstStyle/>
        <a:p>
          <a:endParaRPr lang="zh-CN" altLang="en-US"/>
        </a:p>
      </dgm:t>
    </dgm:pt>
    <dgm:pt modelId="{3CDFAE2B-9F73-4D6D-A6B8-CFBD555BAE11}" type="sibTrans" cxnId="{C71C5425-84BB-413C-BDDA-4A9ADEA92366}">
      <dgm:prSet/>
      <dgm:spPr/>
      <dgm:t>
        <a:bodyPr/>
        <a:lstStyle/>
        <a:p>
          <a:endParaRPr lang="zh-CN" altLang="en-US"/>
        </a:p>
      </dgm:t>
    </dgm:pt>
    <dgm:pt modelId="{F3096F5F-4B59-4570-B902-97E2E7C9A44A}" type="pres">
      <dgm:prSet presAssocID="{297DB469-D29C-4117-9C10-0D7279226841}" presName="Name0" presStyleCnt="0">
        <dgm:presLayoutVars>
          <dgm:dir/>
          <dgm:animOne val="branch"/>
          <dgm:animLvl val="lvl"/>
        </dgm:presLayoutVars>
      </dgm:prSet>
      <dgm:spPr/>
      <dgm:t>
        <a:bodyPr/>
        <a:lstStyle/>
        <a:p>
          <a:endParaRPr lang="zh-CN" altLang="en-US"/>
        </a:p>
      </dgm:t>
    </dgm:pt>
    <dgm:pt modelId="{68F4BA6C-8F94-4477-8E36-7B23CD0753E6}" type="pres">
      <dgm:prSet presAssocID="{81C49A2D-9A6A-43CD-BF5B-FF5AC89224E6}" presName="chaos" presStyleCnt="0"/>
      <dgm:spPr/>
    </dgm:pt>
    <dgm:pt modelId="{2ED851B9-145A-4746-A0A1-66E0FFF5D772}" type="pres">
      <dgm:prSet presAssocID="{81C49A2D-9A6A-43CD-BF5B-FF5AC89224E6}" presName="parTx1" presStyleLbl="revTx" presStyleIdx="0" presStyleCnt="1"/>
      <dgm:spPr/>
      <dgm:t>
        <a:bodyPr/>
        <a:lstStyle/>
        <a:p>
          <a:endParaRPr lang="zh-CN" altLang="en-US"/>
        </a:p>
      </dgm:t>
    </dgm:pt>
    <dgm:pt modelId="{A32839B2-F990-4860-B1B9-847F1B7A1723}" type="pres">
      <dgm:prSet presAssocID="{81C49A2D-9A6A-43CD-BF5B-FF5AC89224E6}" presName="c1" presStyleLbl="node1" presStyleIdx="0" presStyleCnt="19"/>
      <dgm:spPr/>
    </dgm:pt>
    <dgm:pt modelId="{CB7F7B2F-9C3A-433D-BAC1-EC0B2C5E9BC1}" type="pres">
      <dgm:prSet presAssocID="{81C49A2D-9A6A-43CD-BF5B-FF5AC89224E6}" presName="c2" presStyleLbl="node1" presStyleIdx="1" presStyleCnt="19"/>
      <dgm:spPr/>
    </dgm:pt>
    <dgm:pt modelId="{FC5F9496-FF3C-4173-8932-3EB5E7254A2A}" type="pres">
      <dgm:prSet presAssocID="{81C49A2D-9A6A-43CD-BF5B-FF5AC89224E6}" presName="c3" presStyleLbl="node1" presStyleIdx="2" presStyleCnt="19"/>
      <dgm:spPr/>
    </dgm:pt>
    <dgm:pt modelId="{839701EC-DCD4-4587-BB33-7D4BFEC8C494}" type="pres">
      <dgm:prSet presAssocID="{81C49A2D-9A6A-43CD-BF5B-FF5AC89224E6}" presName="c4" presStyleLbl="node1" presStyleIdx="3" presStyleCnt="19"/>
      <dgm:spPr/>
    </dgm:pt>
    <dgm:pt modelId="{9BD1FE81-31F3-4CD4-8E03-FD1EB3ACB7DB}" type="pres">
      <dgm:prSet presAssocID="{81C49A2D-9A6A-43CD-BF5B-FF5AC89224E6}" presName="c5" presStyleLbl="node1" presStyleIdx="4" presStyleCnt="19"/>
      <dgm:spPr/>
    </dgm:pt>
    <dgm:pt modelId="{AAB8823E-E8E4-4DC8-AECC-4618EBE3E93F}" type="pres">
      <dgm:prSet presAssocID="{81C49A2D-9A6A-43CD-BF5B-FF5AC89224E6}" presName="c6" presStyleLbl="node1" presStyleIdx="5" presStyleCnt="19"/>
      <dgm:spPr/>
    </dgm:pt>
    <dgm:pt modelId="{7EAC3FA8-D248-4889-A975-D3F7DD45EC5C}" type="pres">
      <dgm:prSet presAssocID="{81C49A2D-9A6A-43CD-BF5B-FF5AC89224E6}" presName="c7" presStyleLbl="node1" presStyleIdx="6" presStyleCnt="19"/>
      <dgm:spPr/>
    </dgm:pt>
    <dgm:pt modelId="{A410C2F0-F4EC-488B-BF8A-CD79F7CA50EC}" type="pres">
      <dgm:prSet presAssocID="{81C49A2D-9A6A-43CD-BF5B-FF5AC89224E6}" presName="c8" presStyleLbl="node1" presStyleIdx="7" presStyleCnt="19"/>
      <dgm:spPr/>
    </dgm:pt>
    <dgm:pt modelId="{A2E55428-9C4E-4EFB-A940-74D527AC5619}" type="pres">
      <dgm:prSet presAssocID="{81C49A2D-9A6A-43CD-BF5B-FF5AC89224E6}" presName="c9" presStyleLbl="node1" presStyleIdx="8" presStyleCnt="19"/>
      <dgm:spPr/>
    </dgm:pt>
    <dgm:pt modelId="{5C7BFE32-3529-4FFB-BC3E-B943A13F4440}" type="pres">
      <dgm:prSet presAssocID="{81C49A2D-9A6A-43CD-BF5B-FF5AC89224E6}" presName="c10" presStyleLbl="node1" presStyleIdx="9" presStyleCnt="19"/>
      <dgm:spPr/>
    </dgm:pt>
    <dgm:pt modelId="{0E45F641-9262-4EB4-8523-048EB90C69EF}" type="pres">
      <dgm:prSet presAssocID="{81C49A2D-9A6A-43CD-BF5B-FF5AC89224E6}" presName="c11" presStyleLbl="node1" presStyleIdx="10" presStyleCnt="19"/>
      <dgm:spPr/>
    </dgm:pt>
    <dgm:pt modelId="{4AD56B5E-3E7D-4229-B2A7-6677F682B236}" type="pres">
      <dgm:prSet presAssocID="{81C49A2D-9A6A-43CD-BF5B-FF5AC89224E6}" presName="c12" presStyleLbl="node1" presStyleIdx="11" presStyleCnt="19"/>
      <dgm:spPr/>
    </dgm:pt>
    <dgm:pt modelId="{572E6F31-7730-4C5A-8EA8-268B592087AB}" type="pres">
      <dgm:prSet presAssocID="{81C49A2D-9A6A-43CD-BF5B-FF5AC89224E6}" presName="c13" presStyleLbl="node1" presStyleIdx="12" presStyleCnt="19"/>
      <dgm:spPr/>
    </dgm:pt>
    <dgm:pt modelId="{6EA2EED2-E42F-45DC-A8D8-AFCB3DC2C193}" type="pres">
      <dgm:prSet presAssocID="{81C49A2D-9A6A-43CD-BF5B-FF5AC89224E6}" presName="c14" presStyleLbl="node1" presStyleIdx="13" presStyleCnt="19"/>
      <dgm:spPr/>
    </dgm:pt>
    <dgm:pt modelId="{FD071298-CF38-405C-AF4C-862487B5E5D6}" type="pres">
      <dgm:prSet presAssocID="{81C49A2D-9A6A-43CD-BF5B-FF5AC89224E6}" presName="c15" presStyleLbl="node1" presStyleIdx="14" presStyleCnt="19"/>
      <dgm:spPr/>
    </dgm:pt>
    <dgm:pt modelId="{C8BE89E9-9406-46AE-9087-7CDB06ED644D}" type="pres">
      <dgm:prSet presAssocID="{81C49A2D-9A6A-43CD-BF5B-FF5AC89224E6}" presName="c16" presStyleLbl="node1" presStyleIdx="15" presStyleCnt="19"/>
      <dgm:spPr/>
    </dgm:pt>
    <dgm:pt modelId="{8BC47A35-B04C-4B63-83B8-A56A17ECAC27}" type="pres">
      <dgm:prSet presAssocID="{81C49A2D-9A6A-43CD-BF5B-FF5AC89224E6}" presName="c17" presStyleLbl="node1" presStyleIdx="16" presStyleCnt="19"/>
      <dgm:spPr/>
    </dgm:pt>
    <dgm:pt modelId="{B73C0E6E-BB7E-4DEF-B43C-1420DF642B61}" type="pres">
      <dgm:prSet presAssocID="{81C49A2D-9A6A-43CD-BF5B-FF5AC89224E6}" presName="c18" presStyleLbl="node1" presStyleIdx="17" presStyleCnt="19"/>
      <dgm:spPr/>
    </dgm:pt>
    <dgm:pt modelId="{E2B83B18-E9C9-4E60-A3A5-59BD6146AC60}" type="pres">
      <dgm:prSet presAssocID="{20348B54-A2FE-4ADE-BD38-827C5CF3AB4A}" presName="chevronComposite1" presStyleCnt="0"/>
      <dgm:spPr/>
    </dgm:pt>
    <dgm:pt modelId="{6F3C66E8-2730-4FDB-9EF2-603AD04F547D}" type="pres">
      <dgm:prSet presAssocID="{20348B54-A2FE-4ADE-BD38-827C5CF3AB4A}" presName="chevron1" presStyleLbl="sibTrans2D1" presStyleIdx="0" presStyleCnt="2"/>
      <dgm:spPr/>
    </dgm:pt>
    <dgm:pt modelId="{1B9AB551-8F05-4470-A309-21C834AD8654}" type="pres">
      <dgm:prSet presAssocID="{20348B54-A2FE-4ADE-BD38-827C5CF3AB4A}" presName="spChevron1" presStyleCnt="0"/>
      <dgm:spPr/>
    </dgm:pt>
    <dgm:pt modelId="{C1E53A04-6537-4A6D-9801-5EA2AA585A83}" type="pres">
      <dgm:prSet presAssocID="{20348B54-A2FE-4ADE-BD38-827C5CF3AB4A}" presName="overlap" presStyleCnt="0"/>
      <dgm:spPr/>
    </dgm:pt>
    <dgm:pt modelId="{E72F6310-46F9-46C2-AC91-75B594D1173E}" type="pres">
      <dgm:prSet presAssocID="{20348B54-A2FE-4ADE-BD38-827C5CF3AB4A}" presName="chevronComposite2" presStyleCnt="0"/>
      <dgm:spPr/>
    </dgm:pt>
    <dgm:pt modelId="{8877F107-8EE3-4673-A185-FDFDC419FD9E}" type="pres">
      <dgm:prSet presAssocID="{20348B54-A2FE-4ADE-BD38-827C5CF3AB4A}" presName="chevron2" presStyleLbl="sibTrans2D1" presStyleIdx="1" presStyleCnt="2"/>
      <dgm:spPr/>
    </dgm:pt>
    <dgm:pt modelId="{CB53A256-279B-489C-AE19-3F4CE72A4D9E}" type="pres">
      <dgm:prSet presAssocID="{20348B54-A2FE-4ADE-BD38-827C5CF3AB4A}" presName="spChevron2" presStyleCnt="0"/>
      <dgm:spPr/>
    </dgm:pt>
    <dgm:pt modelId="{B021CA17-9D59-423A-9F01-A90982748C1B}" type="pres">
      <dgm:prSet presAssocID="{5A236A1C-4D08-488C-A1D5-497097A60236}" presName="last" presStyleCnt="0"/>
      <dgm:spPr/>
    </dgm:pt>
    <dgm:pt modelId="{2AC59654-E9FA-4C9C-A956-09715168FB19}" type="pres">
      <dgm:prSet presAssocID="{5A236A1C-4D08-488C-A1D5-497097A60236}" presName="circleTx" presStyleLbl="node1" presStyleIdx="18" presStyleCnt="19" custLinFactNeighborX="-868" custLinFactNeighborY="2605"/>
      <dgm:spPr/>
      <dgm:t>
        <a:bodyPr/>
        <a:lstStyle/>
        <a:p>
          <a:endParaRPr lang="zh-CN" altLang="en-US"/>
        </a:p>
      </dgm:t>
    </dgm:pt>
    <dgm:pt modelId="{74685BAD-C9D3-4D0D-92F6-0F840EDBA03C}" type="pres">
      <dgm:prSet presAssocID="{5A236A1C-4D08-488C-A1D5-497097A60236}" presName="spN" presStyleCnt="0"/>
      <dgm:spPr/>
    </dgm:pt>
  </dgm:ptLst>
  <dgm:cxnLst>
    <dgm:cxn modelId="{0C83F976-065E-438E-9ECD-488FED5169E2}" srcId="{297DB469-D29C-4117-9C10-0D7279226841}" destId="{81C49A2D-9A6A-43CD-BF5B-FF5AC89224E6}" srcOrd="0" destOrd="0" parTransId="{70397890-8352-4D73-AD7C-86FD0C16E126}" sibTransId="{20348B54-A2FE-4ADE-BD38-827C5CF3AB4A}"/>
    <dgm:cxn modelId="{344C0080-6D3A-44C1-8B07-278B49D2872C}" type="presOf" srcId="{5A236A1C-4D08-488C-A1D5-497097A60236}" destId="{2AC59654-E9FA-4C9C-A956-09715168FB19}" srcOrd="0" destOrd="0" presId="urn:microsoft.com/office/officeart/2009/3/layout/RandomtoResultProcess"/>
    <dgm:cxn modelId="{4DDE0FCF-CE3A-49D2-916E-61EA939D4D68}" type="presOf" srcId="{297DB469-D29C-4117-9C10-0D7279226841}" destId="{F3096F5F-4B59-4570-B902-97E2E7C9A44A}" srcOrd="0" destOrd="0" presId="urn:microsoft.com/office/officeart/2009/3/layout/RandomtoResultProcess"/>
    <dgm:cxn modelId="{C71C5425-84BB-413C-BDDA-4A9ADEA92366}" srcId="{297DB469-D29C-4117-9C10-0D7279226841}" destId="{5A236A1C-4D08-488C-A1D5-497097A60236}" srcOrd="1" destOrd="0" parTransId="{86915558-431A-458E-893B-8EDC4406BE32}" sibTransId="{3CDFAE2B-9F73-4D6D-A6B8-CFBD555BAE11}"/>
    <dgm:cxn modelId="{6231AA5F-D2FD-4BDC-87CD-2737AA2A1AFA}" type="presOf" srcId="{81C49A2D-9A6A-43CD-BF5B-FF5AC89224E6}" destId="{2ED851B9-145A-4746-A0A1-66E0FFF5D772}" srcOrd="0" destOrd="0" presId="urn:microsoft.com/office/officeart/2009/3/layout/RandomtoResultProcess"/>
    <dgm:cxn modelId="{BFD6C8E0-263B-4D76-9FCC-D0004506F1F5}" type="presParOf" srcId="{F3096F5F-4B59-4570-B902-97E2E7C9A44A}" destId="{68F4BA6C-8F94-4477-8E36-7B23CD0753E6}" srcOrd="0" destOrd="0" presId="urn:microsoft.com/office/officeart/2009/3/layout/RandomtoResultProcess"/>
    <dgm:cxn modelId="{5535A0BA-C0A1-45CB-AEFF-1A0D82285F4E}" type="presParOf" srcId="{68F4BA6C-8F94-4477-8E36-7B23CD0753E6}" destId="{2ED851B9-145A-4746-A0A1-66E0FFF5D772}" srcOrd="0" destOrd="0" presId="urn:microsoft.com/office/officeart/2009/3/layout/RandomtoResultProcess"/>
    <dgm:cxn modelId="{D8E1B8D9-A078-45E4-99D6-9BEA4DD3A2E2}" type="presParOf" srcId="{68F4BA6C-8F94-4477-8E36-7B23CD0753E6}" destId="{A32839B2-F990-4860-B1B9-847F1B7A1723}" srcOrd="1" destOrd="0" presId="urn:microsoft.com/office/officeart/2009/3/layout/RandomtoResultProcess"/>
    <dgm:cxn modelId="{13F2BBC1-74F0-48F2-993C-442FC7C8D087}" type="presParOf" srcId="{68F4BA6C-8F94-4477-8E36-7B23CD0753E6}" destId="{CB7F7B2F-9C3A-433D-BAC1-EC0B2C5E9BC1}" srcOrd="2" destOrd="0" presId="urn:microsoft.com/office/officeart/2009/3/layout/RandomtoResultProcess"/>
    <dgm:cxn modelId="{0A467F3B-B4C1-4E3B-B3EC-5ACBA2498E87}" type="presParOf" srcId="{68F4BA6C-8F94-4477-8E36-7B23CD0753E6}" destId="{FC5F9496-FF3C-4173-8932-3EB5E7254A2A}" srcOrd="3" destOrd="0" presId="urn:microsoft.com/office/officeart/2009/3/layout/RandomtoResultProcess"/>
    <dgm:cxn modelId="{B429687C-91B3-47F5-927C-6DCEDC576338}" type="presParOf" srcId="{68F4BA6C-8F94-4477-8E36-7B23CD0753E6}" destId="{839701EC-DCD4-4587-BB33-7D4BFEC8C494}" srcOrd="4" destOrd="0" presId="urn:microsoft.com/office/officeart/2009/3/layout/RandomtoResultProcess"/>
    <dgm:cxn modelId="{FD98ACA2-F9F3-4BF8-B0B8-84C9D146F661}" type="presParOf" srcId="{68F4BA6C-8F94-4477-8E36-7B23CD0753E6}" destId="{9BD1FE81-31F3-4CD4-8E03-FD1EB3ACB7DB}" srcOrd="5" destOrd="0" presId="urn:microsoft.com/office/officeart/2009/3/layout/RandomtoResultProcess"/>
    <dgm:cxn modelId="{AF8648DA-8686-4DA0-B89C-677E8C324885}" type="presParOf" srcId="{68F4BA6C-8F94-4477-8E36-7B23CD0753E6}" destId="{AAB8823E-E8E4-4DC8-AECC-4618EBE3E93F}" srcOrd="6" destOrd="0" presId="urn:microsoft.com/office/officeart/2009/3/layout/RandomtoResultProcess"/>
    <dgm:cxn modelId="{F8EDBB9C-FD06-455C-88FC-5394731FFEC4}" type="presParOf" srcId="{68F4BA6C-8F94-4477-8E36-7B23CD0753E6}" destId="{7EAC3FA8-D248-4889-A975-D3F7DD45EC5C}" srcOrd="7" destOrd="0" presId="urn:microsoft.com/office/officeart/2009/3/layout/RandomtoResultProcess"/>
    <dgm:cxn modelId="{6B400209-DCAB-494A-933A-AE38ACD5DBB5}" type="presParOf" srcId="{68F4BA6C-8F94-4477-8E36-7B23CD0753E6}" destId="{A410C2F0-F4EC-488B-BF8A-CD79F7CA50EC}" srcOrd="8" destOrd="0" presId="urn:microsoft.com/office/officeart/2009/3/layout/RandomtoResultProcess"/>
    <dgm:cxn modelId="{2AB1DE74-5254-4A82-9E92-3684F365041F}" type="presParOf" srcId="{68F4BA6C-8F94-4477-8E36-7B23CD0753E6}" destId="{A2E55428-9C4E-4EFB-A940-74D527AC5619}" srcOrd="9" destOrd="0" presId="urn:microsoft.com/office/officeart/2009/3/layout/RandomtoResultProcess"/>
    <dgm:cxn modelId="{66FFF37F-EC19-47DC-B410-FA016AC0ACB5}" type="presParOf" srcId="{68F4BA6C-8F94-4477-8E36-7B23CD0753E6}" destId="{5C7BFE32-3529-4FFB-BC3E-B943A13F4440}" srcOrd="10" destOrd="0" presId="urn:microsoft.com/office/officeart/2009/3/layout/RandomtoResultProcess"/>
    <dgm:cxn modelId="{20F6B6BD-EB74-4D87-909F-44ABDBDDBBEE}" type="presParOf" srcId="{68F4BA6C-8F94-4477-8E36-7B23CD0753E6}" destId="{0E45F641-9262-4EB4-8523-048EB90C69EF}" srcOrd="11" destOrd="0" presId="urn:microsoft.com/office/officeart/2009/3/layout/RandomtoResultProcess"/>
    <dgm:cxn modelId="{2AC78FD6-3223-449C-B014-83E3361910C4}" type="presParOf" srcId="{68F4BA6C-8F94-4477-8E36-7B23CD0753E6}" destId="{4AD56B5E-3E7D-4229-B2A7-6677F682B236}" srcOrd="12" destOrd="0" presId="urn:microsoft.com/office/officeart/2009/3/layout/RandomtoResultProcess"/>
    <dgm:cxn modelId="{D0BC7160-1DBA-4FF4-B007-5DB9FA58FF36}" type="presParOf" srcId="{68F4BA6C-8F94-4477-8E36-7B23CD0753E6}" destId="{572E6F31-7730-4C5A-8EA8-268B592087AB}" srcOrd="13" destOrd="0" presId="urn:microsoft.com/office/officeart/2009/3/layout/RandomtoResultProcess"/>
    <dgm:cxn modelId="{9095F7F1-78F7-4549-9CAF-3C8335DC11AE}" type="presParOf" srcId="{68F4BA6C-8F94-4477-8E36-7B23CD0753E6}" destId="{6EA2EED2-E42F-45DC-A8D8-AFCB3DC2C193}" srcOrd="14" destOrd="0" presId="urn:microsoft.com/office/officeart/2009/3/layout/RandomtoResultProcess"/>
    <dgm:cxn modelId="{21451AE8-9352-4A10-AEF2-FD63B5B423F7}" type="presParOf" srcId="{68F4BA6C-8F94-4477-8E36-7B23CD0753E6}" destId="{FD071298-CF38-405C-AF4C-862487B5E5D6}" srcOrd="15" destOrd="0" presId="urn:microsoft.com/office/officeart/2009/3/layout/RandomtoResultProcess"/>
    <dgm:cxn modelId="{7C04A267-755D-4C9B-8FF3-3B7D9E5DDA51}" type="presParOf" srcId="{68F4BA6C-8F94-4477-8E36-7B23CD0753E6}" destId="{C8BE89E9-9406-46AE-9087-7CDB06ED644D}" srcOrd="16" destOrd="0" presId="urn:microsoft.com/office/officeart/2009/3/layout/RandomtoResultProcess"/>
    <dgm:cxn modelId="{424DABC6-BC3D-452A-A6E4-C5233D9F1869}" type="presParOf" srcId="{68F4BA6C-8F94-4477-8E36-7B23CD0753E6}" destId="{8BC47A35-B04C-4B63-83B8-A56A17ECAC27}" srcOrd="17" destOrd="0" presId="urn:microsoft.com/office/officeart/2009/3/layout/RandomtoResultProcess"/>
    <dgm:cxn modelId="{BD77CC7B-0A8C-423C-8816-5C3DE617F8BD}" type="presParOf" srcId="{68F4BA6C-8F94-4477-8E36-7B23CD0753E6}" destId="{B73C0E6E-BB7E-4DEF-B43C-1420DF642B61}" srcOrd="18" destOrd="0" presId="urn:microsoft.com/office/officeart/2009/3/layout/RandomtoResultProcess"/>
    <dgm:cxn modelId="{1476E074-7862-49C5-A1A7-1E5A4C1EC042}" type="presParOf" srcId="{F3096F5F-4B59-4570-B902-97E2E7C9A44A}" destId="{E2B83B18-E9C9-4E60-A3A5-59BD6146AC60}" srcOrd="1" destOrd="0" presId="urn:microsoft.com/office/officeart/2009/3/layout/RandomtoResultProcess"/>
    <dgm:cxn modelId="{DCC7CCA1-F5CF-4E75-B938-094E608007DD}" type="presParOf" srcId="{E2B83B18-E9C9-4E60-A3A5-59BD6146AC60}" destId="{6F3C66E8-2730-4FDB-9EF2-603AD04F547D}" srcOrd="0" destOrd="0" presId="urn:microsoft.com/office/officeart/2009/3/layout/RandomtoResultProcess"/>
    <dgm:cxn modelId="{FBD99532-F6BE-4634-86AE-60D773B45C9A}" type="presParOf" srcId="{E2B83B18-E9C9-4E60-A3A5-59BD6146AC60}" destId="{1B9AB551-8F05-4470-A309-21C834AD8654}" srcOrd="1" destOrd="0" presId="urn:microsoft.com/office/officeart/2009/3/layout/RandomtoResultProcess"/>
    <dgm:cxn modelId="{26698A64-FA1F-421A-87DE-D4CC348D0C6E}" type="presParOf" srcId="{F3096F5F-4B59-4570-B902-97E2E7C9A44A}" destId="{C1E53A04-6537-4A6D-9801-5EA2AA585A83}" srcOrd="2" destOrd="0" presId="urn:microsoft.com/office/officeart/2009/3/layout/RandomtoResultProcess"/>
    <dgm:cxn modelId="{E84145F3-C879-41FE-BAE4-38E78063A16B}" type="presParOf" srcId="{F3096F5F-4B59-4570-B902-97E2E7C9A44A}" destId="{E72F6310-46F9-46C2-AC91-75B594D1173E}" srcOrd="3" destOrd="0" presId="urn:microsoft.com/office/officeart/2009/3/layout/RandomtoResultProcess"/>
    <dgm:cxn modelId="{F784D137-B9D1-4756-A0AD-8766C9D5E29E}" type="presParOf" srcId="{E72F6310-46F9-46C2-AC91-75B594D1173E}" destId="{8877F107-8EE3-4673-A185-FDFDC419FD9E}" srcOrd="0" destOrd="0" presId="urn:microsoft.com/office/officeart/2009/3/layout/RandomtoResultProcess"/>
    <dgm:cxn modelId="{32D5A6FE-C5C1-4F76-A4C0-D2ECD8CA593C}" type="presParOf" srcId="{E72F6310-46F9-46C2-AC91-75B594D1173E}" destId="{CB53A256-279B-489C-AE19-3F4CE72A4D9E}" srcOrd="1" destOrd="0" presId="urn:microsoft.com/office/officeart/2009/3/layout/RandomtoResultProcess"/>
    <dgm:cxn modelId="{BCF184B3-1535-4883-AD4F-FFD3669EFB71}" type="presParOf" srcId="{F3096F5F-4B59-4570-B902-97E2E7C9A44A}" destId="{B021CA17-9D59-423A-9F01-A90982748C1B}" srcOrd="4" destOrd="0" presId="urn:microsoft.com/office/officeart/2009/3/layout/RandomtoResultProcess"/>
    <dgm:cxn modelId="{5C2A1CF2-F0E3-431B-BE80-D29D459BB1E6}" type="presParOf" srcId="{B021CA17-9D59-423A-9F01-A90982748C1B}" destId="{2AC59654-E9FA-4C9C-A956-09715168FB19}" srcOrd="0" destOrd="0" presId="urn:microsoft.com/office/officeart/2009/3/layout/RandomtoResultProcess"/>
    <dgm:cxn modelId="{2965C281-C295-40D1-8AA5-D5EA6EAEEE8D}" type="presParOf" srcId="{B021CA17-9D59-423A-9F01-A90982748C1B}" destId="{74685BAD-C9D3-4D0D-92F6-0F840EDBA03C}" srcOrd="1" destOrd="0" presId="urn:microsoft.com/office/officeart/2009/3/layout/RandomtoResult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97DB469-D29C-4117-9C10-0D7279226841}" type="doc">
      <dgm:prSet loTypeId="urn:microsoft.com/office/officeart/2009/3/layout/RandomtoResultProcess" loCatId="process" qsTypeId="urn:microsoft.com/office/officeart/2005/8/quickstyle/simple1" qsCatId="simple" csTypeId="urn:microsoft.com/office/officeart/2005/8/colors/accent0_3" csCatId="mainScheme" phldr="1"/>
      <dgm:spPr/>
      <dgm:t>
        <a:bodyPr/>
        <a:lstStyle/>
        <a:p>
          <a:endParaRPr lang="zh-CN" altLang="en-US"/>
        </a:p>
      </dgm:t>
    </dgm:pt>
    <dgm:pt modelId="{81C49A2D-9A6A-43CD-BF5B-FF5AC89224E6}">
      <dgm:prSet phldrT="[文本]"/>
      <dgm:spPr/>
      <dgm:t>
        <a:bodyPr/>
        <a:lstStyle/>
        <a:p>
          <a:endParaRPr lang="zh-CN" altLang="en-US" dirty="0"/>
        </a:p>
      </dgm:t>
    </dgm:pt>
    <dgm:pt modelId="{70397890-8352-4D73-AD7C-86FD0C16E126}" type="parTrans" cxnId="{0C83F976-065E-438E-9ECD-488FED5169E2}">
      <dgm:prSet/>
      <dgm:spPr/>
      <dgm:t>
        <a:bodyPr/>
        <a:lstStyle/>
        <a:p>
          <a:endParaRPr lang="zh-CN" altLang="en-US"/>
        </a:p>
      </dgm:t>
    </dgm:pt>
    <dgm:pt modelId="{20348B54-A2FE-4ADE-BD38-827C5CF3AB4A}" type="sibTrans" cxnId="{0C83F976-065E-438E-9ECD-488FED5169E2}">
      <dgm:prSet/>
      <dgm:spPr/>
      <dgm:t>
        <a:bodyPr/>
        <a:lstStyle/>
        <a:p>
          <a:endParaRPr lang="zh-CN" altLang="en-US"/>
        </a:p>
      </dgm:t>
    </dgm:pt>
    <dgm:pt modelId="{5A236A1C-4D08-488C-A1D5-497097A60236}">
      <dgm:prSet phldrT="[文本]"/>
      <dgm:spPr/>
      <dgm:t>
        <a:bodyPr/>
        <a:lstStyle/>
        <a:p>
          <a:endParaRPr lang="zh-CN" altLang="en-US" dirty="0"/>
        </a:p>
      </dgm:t>
    </dgm:pt>
    <dgm:pt modelId="{86915558-431A-458E-893B-8EDC4406BE32}" type="parTrans" cxnId="{C71C5425-84BB-413C-BDDA-4A9ADEA92366}">
      <dgm:prSet/>
      <dgm:spPr/>
      <dgm:t>
        <a:bodyPr/>
        <a:lstStyle/>
        <a:p>
          <a:endParaRPr lang="zh-CN" altLang="en-US"/>
        </a:p>
      </dgm:t>
    </dgm:pt>
    <dgm:pt modelId="{3CDFAE2B-9F73-4D6D-A6B8-CFBD555BAE11}" type="sibTrans" cxnId="{C71C5425-84BB-413C-BDDA-4A9ADEA92366}">
      <dgm:prSet/>
      <dgm:spPr/>
      <dgm:t>
        <a:bodyPr/>
        <a:lstStyle/>
        <a:p>
          <a:endParaRPr lang="zh-CN" altLang="en-US"/>
        </a:p>
      </dgm:t>
    </dgm:pt>
    <dgm:pt modelId="{F3096F5F-4B59-4570-B902-97E2E7C9A44A}" type="pres">
      <dgm:prSet presAssocID="{297DB469-D29C-4117-9C10-0D7279226841}" presName="Name0" presStyleCnt="0">
        <dgm:presLayoutVars>
          <dgm:dir/>
          <dgm:animOne val="branch"/>
          <dgm:animLvl val="lvl"/>
        </dgm:presLayoutVars>
      </dgm:prSet>
      <dgm:spPr/>
      <dgm:t>
        <a:bodyPr/>
        <a:lstStyle/>
        <a:p>
          <a:endParaRPr lang="zh-CN" altLang="en-US"/>
        </a:p>
      </dgm:t>
    </dgm:pt>
    <dgm:pt modelId="{68F4BA6C-8F94-4477-8E36-7B23CD0753E6}" type="pres">
      <dgm:prSet presAssocID="{81C49A2D-9A6A-43CD-BF5B-FF5AC89224E6}" presName="chaos" presStyleCnt="0"/>
      <dgm:spPr/>
    </dgm:pt>
    <dgm:pt modelId="{2ED851B9-145A-4746-A0A1-66E0FFF5D772}" type="pres">
      <dgm:prSet presAssocID="{81C49A2D-9A6A-43CD-BF5B-FF5AC89224E6}" presName="parTx1" presStyleLbl="revTx" presStyleIdx="0" presStyleCnt="1"/>
      <dgm:spPr/>
      <dgm:t>
        <a:bodyPr/>
        <a:lstStyle/>
        <a:p>
          <a:endParaRPr lang="zh-CN" altLang="en-US"/>
        </a:p>
      </dgm:t>
    </dgm:pt>
    <dgm:pt modelId="{A32839B2-F990-4860-B1B9-847F1B7A1723}" type="pres">
      <dgm:prSet presAssocID="{81C49A2D-9A6A-43CD-BF5B-FF5AC89224E6}" presName="c1" presStyleLbl="node1" presStyleIdx="0" presStyleCnt="19"/>
      <dgm:spPr/>
    </dgm:pt>
    <dgm:pt modelId="{CB7F7B2F-9C3A-433D-BAC1-EC0B2C5E9BC1}" type="pres">
      <dgm:prSet presAssocID="{81C49A2D-9A6A-43CD-BF5B-FF5AC89224E6}" presName="c2" presStyleLbl="node1" presStyleIdx="1" presStyleCnt="19"/>
      <dgm:spPr/>
    </dgm:pt>
    <dgm:pt modelId="{FC5F9496-FF3C-4173-8932-3EB5E7254A2A}" type="pres">
      <dgm:prSet presAssocID="{81C49A2D-9A6A-43CD-BF5B-FF5AC89224E6}" presName="c3" presStyleLbl="node1" presStyleIdx="2" presStyleCnt="19"/>
      <dgm:spPr/>
    </dgm:pt>
    <dgm:pt modelId="{839701EC-DCD4-4587-BB33-7D4BFEC8C494}" type="pres">
      <dgm:prSet presAssocID="{81C49A2D-9A6A-43CD-BF5B-FF5AC89224E6}" presName="c4" presStyleLbl="node1" presStyleIdx="3" presStyleCnt="19"/>
      <dgm:spPr/>
    </dgm:pt>
    <dgm:pt modelId="{9BD1FE81-31F3-4CD4-8E03-FD1EB3ACB7DB}" type="pres">
      <dgm:prSet presAssocID="{81C49A2D-9A6A-43CD-BF5B-FF5AC89224E6}" presName="c5" presStyleLbl="node1" presStyleIdx="4" presStyleCnt="19"/>
      <dgm:spPr/>
    </dgm:pt>
    <dgm:pt modelId="{AAB8823E-E8E4-4DC8-AECC-4618EBE3E93F}" type="pres">
      <dgm:prSet presAssocID="{81C49A2D-9A6A-43CD-BF5B-FF5AC89224E6}" presName="c6" presStyleLbl="node1" presStyleIdx="5" presStyleCnt="19"/>
      <dgm:spPr/>
    </dgm:pt>
    <dgm:pt modelId="{7EAC3FA8-D248-4889-A975-D3F7DD45EC5C}" type="pres">
      <dgm:prSet presAssocID="{81C49A2D-9A6A-43CD-BF5B-FF5AC89224E6}" presName="c7" presStyleLbl="node1" presStyleIdx="6" presStyleCnt="19"/>
      <dgm:spPr/>
    </dgm:pt>
    <dgm:pt modelId="{A410C2F0-F4EC-488B-BF8A-CD79F7CA50EC}" type="pres">
      <dgm:prSet presAssocID="{81C49A2D-9A6A-43CD-BF5B-FF5AC89224E6}" presName="c8" presStyleLbl="node1" presStyleIdx="7" presStyleCnt="19"/>
      <dgm:spPr/>
    </dgm:pt>
    <dgm:pt modelId="{A2E55428-9C4E-4EFB-A940-74D527AC5619}" type="pres">
      <dgm:prSet presAssocID="{81C49A2D-9A6A-43CD-BF5B-FF5AC89224E6}" presName="c9" presStyleLbl="node1" presStyleIdx="8" presStyleCnt="19"/>
      <dgm:spPr/>
    </dgm:pt>
    <dgm:pt modelId="{5C7BFE32-3529-4FFB-BC3E-B943A13F4440}" type="pres">
      <dgm:prSet presAssocID="{81C49A2D-9A6A-43CD-BF5B-FF5AC89224E6}" presName="c10" presStyleLbl="node1" presStyleIdx="9" presStyleCnt="19"/>
      <dgm:spPr/>
    </dgm:pt>
    <dgm:pt modelId="{0E45F641-9262-4EB4-8523-048EB90C69EF}" type="pres">
      <dgm:prSet presAssocID="{81C49A2D-9A6A-43CD-BF5B-FF5AC89224E6}" presName="c11" presStyleLbl="node1" presStyleIdx="10" presStyleCnt="19"/>
      <dgm:spPr/>
    </dgm:pt>
    <dgm:pt modelId="{4AD56B5E-3E7D-4229-B2A7-6677F682B236}" type="pres">
      <dgm:prSet presAssocID="{81C49A2D-9A6A-43CD-BF5B-FF5AC89224E6}" presName="c12" presStyleLbl="node1" presStyleIdx="11" presStyleCnt="19"/>
      <dgm:spPr/>
    </dgm:pt>
    <dgm:pt modelId="{572E6F31-7730-4C5A-8EA8-268B592087AB}" type="pres">
      <dgm:prSet presAssocID="{81C49A2D-9A6A-43CD-BF5B-FF5AC89224E6}" presName="c13" presStyleLbl="node1" presStyleIdx="12" presStyleCnt="19"/>
      <dgm:spPr/>
    </dgm:pt>
    <dgm:pt modelId="{6EA2EED2-E42F-45DC-A8D8-AFCB3DC2C193}" type="pres">
      <dgm:prSet presAssocID="{81C49A2D-9A6A-43CD-BF5B-FF5AC89224E6}" presName="c14" presStyleLbl="node1" presStyleIdx="13" presStyleCnt="19"/>
      <dgm:spPr/>
    </dgm:pt>
    <dgm:pt modelId="{FD071298-CF38-405C-AF4C-862487B5E5D6}" type="pres">
      <dgm:prSet presAssocID="{81C49A2D-9A6A-43CD-BF5B-FF5AC89224E6}" presName="c15" presStyleLbl="node1" presStyleIdx="14" presStyleCnt="19"/>
      <dgm:spPr/>
    </dgm:pt>
    <dgm:pt modelId="{C8BE89E9-9406-46AE-9087-7CDB06ED644D}" type="pres">
      <dgm:prSet presAssocID="{81C49A2D-9A6A-43CD-BF5B-FF5AC89224E6}" presName="c16" presStyleLbl="node1" presStyleIdx="15" presStyleCnt="19"/>
      <dgm:spPr/>
    </dgm:pt>
    <dgm:pt modelId="{8BC47A35-B04C-4B63-83B8-A56A17ECAC27}" type="pres">
      <dgm:prSet presAssocID="{81C49A2D-9A6A-43CD-BF5B-FF5AC89224E6}" presName="c17" presStyleLbl="node1" presStyleIdx="16" presStyleCnt="19"/>
      <dgm:spPr/>
    </dgm:pt>
    <dgm:pt modelId="{B73C0E6E-BB7E-4DEF-B43C-1420DF642B61}" type="pres">
      <dgm:prSet presAssocID="{81C49A2D-9A6A-43CD-BF5B-FF5AC89224E6}" presName="c18" presStyleLbl="node1" presStyleIdx="17" presStyleCnt="19"/>
      <dgm:spPr/>
    </dgm:pt>
    <dgm:pt modelId="{E2B83B18-E9C9-4E60-A3A5-59BD6146AC60}" type="pres">
      <dgm:prSet presAssocID="{20348B54-A2FE-4ADE-BD38-827C5CF3AB4A}" presName="chevronComposite1" presStyleCnt="0"/>
      <dgm:spPr/>
    </dgm:pt>
    <dgm:pt modelId="{6F3C66E8-2730-4FDB-9EF2-603AD04F547D}" type="pres">
      <dgm:prSet presAssocID="{20348B54-A2FE-4ADE-BD38-827C5CF3AB4A}" presName="chevron1" presStyleLbl="sibTrans2D1" presStyleIdx="0" presStyleCnt="2"/>
      <dgm:spPr/>
    </dgm:pt>
    <dgm:pt modelId="{1B9AB551-8F05-4470-A309-21C834AD8654}" type="pres">
      <dgm:prSet presAssocID="{20348B54-A2FE-4ADE-BD38-827C5CF3AB4A}" presName="spChevron1" presStyleCnt="0"/>
      <dgm:spPr/>
    </dgm:pt>
    <dgm:pt modelId="{C1E53A04-6537-4A6D-9801-5EA2AA585A83}" type="pres">
      <dgm:prSet presAssocID="{20348B54-A2FE-4ADE-BD38-827C5CF3AB4A}" presName="overlap" presStyleCnt="0"/>
      <dgm:spPr/>
    </dgm:pt>
    <dgm:pt modelId="{E72F6310-46F9-46C2-AC91-75B594D1173E}" type="pres">
      <dgm:prSet presAssocID="{20348B54-A2FE-4ADE-BD38-827C5CF3AB4A}" presName="chevronComposite2" presStyleCnt="0"/>
      <dgm:spPr/>
    </dgm:pt>
    <dgm:pt modelId="{8877F107-8EE3-4673-A185-FDFDC419FD9E}" type="pres">
      <dgm:prSet presAssocID="{20348B54-A2FE-4ADE-BD38-827C5CF3AB4A}" presName="chevron2" presStyleLbl="sibTrans2D1" presStyleIdx="1" presStyleCnt="2"/>
      <dgm:spPr/>
    </dgm:pt>
    <dgm:pt modelId="{CB53A256-279B-489C-AE19-3F4CE72A4D9E}" type="pres">
      <dgm:prSet presAssocID="{20348B54-A2FE-4ADE-BD38-827C5CF3AB4A}" presName="spChevron2" presStyleCnt="0"/>
      <dgm:spPr/>
    </dgm:pt>
    <dgm:pt modelId="{B021CA17-9D59-423A-9F01-A90982748C1B}" type="pres">
      <dgm:prSet presAssocID="{5A236A1C-4D08-488C-A1D5-497097A60236}" presName="last" presStyleCnt="0"/>
      <dgm:spPr/>
    </dgm:pt>
    <dgm:pt modelId="{2AC59654-E9FA-4C9C-A956-09715168FB19}" type="pres">
      <dgm:prSet presAssocID="{5A236A1C-4D08-488C-A1D5-497097A60236}" presName="circleTx" presStyleLbl="node1" presStyleIdx="18" presStyleCnt="19" custLinFactNeighborX="-868" custLinFactNeighborY="2605"/>
      <dgm:spPr/>
      <dgm:t>
        <a:bodyPr/>
        <a:lstStyle/>
        <a:p>
          <a:endParaRPr lang="zh-CN" altLang="en-US"/>
        </a:p>
      </dgm:t>
    </dgm:pt>
    <dgm:pt modelId="{74685BAD-C9D3-4D0D-92F6-0F840EDBA03C}" type="pres">
      <dgm:prSet presAssocID="{5A236A1C-4D08-488C-A1D5-497097A60236}" presName="spN" presStyleCnt="0"/>
      <dgm:spPr/>
    </dgm:pt>
  </dgm:ptLst>
  <dgm:cxnLst>
    <dgm:cxn modelId="{0C83F976-065E-438E-9ECD-488FED5169E2}" srcId="{297DB469-D29C-4117-9C10-0D7279226841}" destId="{81C49A2D-9A6A-43CD-BF5B-FF5AC89224E6}" srcOrd="0" destOrd="0" parTransId="{70397890-8352-4D73-AD7C-86FD0C16E126}" sibTransId="{20348B54-A2FE-4ADE-BD38-827C5CF3AB4A}"/>
    <dgm:cxn modelId="{344C0080-6D3A-44C1-8B07-278B49D2872C}" type="presOf" srcId="{5A236A1C-4D08-488C-A1D5-497097A60236}" destId="{2AC59654-E9FA-4C9C-A956-09715168FB19}" srcOrd="0" destOrd="0" presId="urn:microsoft.com/office/officeart/2009/3/layout/RandomtoResultProcess"/>
    <dgm:cxn modelId="{4DDE0FCF-CE3A-49D2-916E-61EA939D4D68}" type="presOf" srcId="{297DB469-D29C-4117-9C10-0D7279226841}" destId="{F3096F5F-4B59-4570-B902-97E2E7C9A44A}" srcOrd="0" destOrd="0" presId="urn:microsoft.com/office/officeart/2009/3/layout/RandomtoResultProcess"/>
    <dgm:cxn modelId="{C71C5425-84BB-413C-BDDA-4A9ADEA92366}" srcId="{297DB469-D29C-4117-9C10-0D7279226841}" destId="{5A236A1C-4D08-488C-A1D5-497097A60236}" srcOrd="1" destOrd="0" parTransId="{86915558-431A-458E-893B-8EDC4406BE32}" sibTransId="{3CDFAE2B-9F73-4D6D-A6B8-CFBD555BAE11}"/>
    <dgm:cxn modelId="{6231AA5F-D2FD-4BDC-87CD-2737AA2A1AFA}" type="presOf" srcId="{81C49A2D-9A6A-43CD-BF5B-FF5AC89224E6}" destId="{2ED851B9-145A-4746-A0A1-66E0FFF5D772}" srcOrd="0" destOrd="0" presId="urn:microsoft.com/office/officeart/2009/3/layout/RandomtoResultProcess"/>
    <dgm:cxn modelId="{BFD6C8E0-263B-4D76-9FCC-D0004506F1F5}" type="presParOf" srcId="{F3096F5F-4B59-4570-B902-97E2E7C9A44A}" destId="{68F4BA6C-8F94-4477-8E36-7B23CD0753E6}" srcOrd="0" destOrd="0" presId="urn:microsoft.com/office/officeart/2009/3/layout/RandomtoResultProcess"/>
    <dgm:cxn modelId="{5535A0BA-C0A1-45CB-AEFF-1A0D82285F4E}" type="presParOf" srcId="{68F4BA6C-8F94-4477-8E36-7B23CD0753E6}" destId="{2ED851B9-145A-4746-A0A1-66E0FFF5D772}" srcOrd="0" destOrd="0" presId="urn:microsoft.com/office/officeart/2009/3/layout/RandomtoResultProcess"/>
    <dgm:cxn modelId="{D8E1B8D9-A078-45E4-99D6-9BEA4DD3A2E2}" type="presParOf" srcId="{68F4BA6C-8F94-4477-8E36-7B23CD0753E6}" destId="{A32839B2-F990-4860-B1B9-847F1B7A1723}" srcOrd="1" destOrd="0" presId="urn:microsoft.com/office/officeart/2009/3/layout/RandomtoResultProcess"/>
    <dgm:cxn modelId="{13F2BBC1-74F0-48F2-993C-442FC7C8D087}" type="presParOf" srcId="{68F4BA6C-8F94-4477-8E36-7B23CD0753E6}" destId="{CB7F7B2F-9C3A-433D-BAC1-EC0B2C5E9BC1}" srcOrd="2" destOrd="0" presId="urn:microsoft.com/office/officeart/2009/3/layout/RandomtoResultProcess"/>
    <dgm:cxn modelId="{0A467F3B-B4C1-4E3B-B3EC-5ACBA2498E87}" type="presParOf" srcId="{68F4BA6C-8F94-4477-8E36-7B23CD0753E6}" destId="{FC5F9496-FF3C-4173-8932-3EB5E7254A2A}" srcOrd="3" destOrd="0" presId="urn:microsoft.com/office/officeart/2009/3/layout/RandomtoResultProcess"/>
    <dgm:cxn modelId="{B429687C-91B3-47F5-927C-6DCEDC576338}" type="presParOf" srcId="{68F4BA6C-8F94-4477-8E36-7B23CD0753E6}" destId="{839701EC-DCD4-4587-BB33-7D4BFEC8C494}" srcOrd="4" destOrd="0" presId="urn:microsoft.com/office/officeart/2009/3/layout/RandomtoResultProcess"/>
    <dgm:cxn modelId="{FD98ACA2-F9F3-4BF8-B0B8-84C9D146F661}" type="presParOf" srcId="{68F4BA6C-8F94-4477-8E36-7B23CD0753E6}" destId="{9BD1FE81-31F3-4CD4-8E03-FD1EB3ACB7DB}" srcOrd="5" destOrd="0" presId="urn:microsoft.com/office/officeart/2009/3/layout/RandomtoResultProcess"/>
    <dgm:cxn modelId="{AF8648DA-8686-4DA0-B89C-677E8C324885}" type="presParOf" srcId="{68F4BA6C-8F94-4477-8E36-7B23CD0753E6}" destId="{AAB8823E-E8E4-4DC8-AECC-4618EBE3E93F}" srcOrd="6" destOrd="0" presId="urn:microsoft.com/office/officeart/2009/3/layout/RandomtoResultProcess"/>
    <dgm:cxn modelId="{F8EDBB9C-FD06-455C-88FC-5394731FFEC4}" type="presParOf" srcId="{68F4BA6C-8F94-4477-8E36-7B23CD0753E6}" destId="{7EAC3FA8-D248-4889-A975-D3F7DD45EC5C}" srcOrd="7" destOrd="0" presId="urn:microsoft.com/office/officeart/2009/3/layout/RandomtoResultProcess"/>
    <dgm:cxn modelId="{6B400209-DCAB-494A-933A-AE38ACD5DBB5}" type="presParOf" srcId="{68F4BA6C-8F94-4477-8E36-7B23CD0753E6}" destId="{A410C2F0-F4EC-488B-BF8A-CD79F7CA50EC}" srcOrd="8" destOrd="0" presId="urn:microsoft.com/office/officeart/2009/3/layout/RandomtoResultProcess"/>
    <dgm:cxn modelId="{2AB1DE74-5254-4A82-9E92-3684F365041F}" type="presParOf" srcId="{68F4BA6C-8F94-4477-8E36-7B23CD0753E6}" destId="{A2E55428-9C4E-4EFB-A940-74D527AC5619}" srcOrd="9" destOrd="0" presId="urn:microsoft.com/office/officeart/2009/3/layout/RandomtoResultProcess"/>
    <dgm:cxn modelId="{66FFF37F-EC19-47DC-B410-FA016AC0ACB5}" type="presParOf" srcId="{68F4BA6C-8F94-4477-8E36-7B23CD0753E6}" destId="{5C7BFE32-3529-4FFB-BC3E-B943A13F4440}" srcOrd="10" destOrd="0" presId="urn:microsoft.com/office/officeart/2009/3/layout/RandomtoResultProcess"/>
    <dgm:cxn modelId="{20F6B6BD-EB74-4D87-909F-44ABDBDDBBEE}" type="presParOf" srcId="{68F4BA6C-8F94-4477-8E36-7B23CD0753E6}" destId="{0E45F641-9262-4EB4-8523-048EB90C69EF}" srcOrd="11" destOrd="0" presId="urn:microsoft.com/office/officeart/2009/3/layout/RandomtoResultProcess"/>
    <dgm:cxn modelId="{2AC78FD6-3223-449C-B014-83E3361910C4}" type="presParOf" srcId="{68F4BA6C-8F94-4477-8E36-7B23CD0753E6}" destId="{4AD56B5E-3E7D-4229-B2A7-6677F682B236}" srcOrd="12" destOrd="0" presId="urn:microsoft.com/office/officeart/2009/3/layout/RandomtoResultProcess"/>
    <dgm:cxn modelId="{D0BC7160-1DBA-4FF4-B007-5DB9FA58FF36}" type="presParOf" srcId="{68F4BA6C-8F94-4477-8E36-7B23CD0753E6}" destId="{572E6F31-7730-4C5A-8EA8-268B592087AB}" srcOrd="13" destOrd="0" presId="urn:microsoft.com/office/officeart/2009/3/layout/RandomtoResultProcess"/>
    <dgm:cxn modelId="{9095F7F1-78F7-4549-9CAF-3C8335DC11AE}" type="presParOf" srcId="{68F4BA6C-8F94-4477-8E36-7B23CD0753E6}" destId="{6EA2EED2-E42F-45DC-A8D8-AFCB3DC2C193}" srcOrd="14" destOrd="0" presId="urn:microsoft.com/office/officeart/2009/3/layout/RandomtoResultProcess"/>
    <dgm:cxn modelId="{21451AE8-9352-4A10-AEF2-FD63B5B423F7}" type="presParOf" srcId="{68F4BA6C-8F94-4477-8E36-7B23CD0753E6}" destId="{FD071298-CF38-405C-AF4C-862487B5E5D6}" srcOrd="15" destOrd="0" presId="urn:microsoft.com/office/officeart/2009/3/layout/RandomtoResultProcess"/>
    <dgm:cxn modelId="{7C04A267-755D-4C9B-8FF3-3B7D9E5DDA51}" type="presParOf" srcId="{68F4BA6C-8F94-4477-8E36-7B23CD0753E6}" destId="{C8BE89E9-9406-46AE-9087-7CDB06ED644D}" srcOrd="16" destOrd="0" presId="urn:microsoft.com/office/officeart/2009/3/layout/RandomtoResultProcess"/>
    <dgm:cxn modelId="{424DABC6-BC3D-452A-A6E4-C5233D9F1869}" type="presParOf" srcId="{68F4BA6C-8F94-4477-8E36-7B23CD0753E6}" destId="{8BC47A35-B04C-4B63-83B8-A56A17ECAC27}" srcOrd="17" destOrd="0" presId="urn:microsoft.com/office/officeart/2009/3/layout/RandomtoResultProcess"/>
    <dgm:cxn modelId="{BD77CC7B-0A8C-423C-8816-5C3DE617F8BD}" type="presParOf" srcId="{68F4BA6C-8F94-4477-8E36-7B23CD0753E6}" destId="{B73C0E6E-BB7E-4DEF-B43C-1420DF642B61}" srcOrd="18" destOrd="0" presId="urn:microsoft.com/office/officeart/2009/3/layout/RandomtoResultProcess"/>
    <dgm:cxn modelId="{1476E074-7862-49C5-A1A7-1E5A4C1EC042}" type="presParOf" srcId="{F3096F5F-4B59-4570-B902-97E2E7C9A44A}" destId="{E2B83B18-E9C9-4E60-A3A5-59BD6146AC60}" srcOrd="1" destOrd="0" presId="urn:microsoft.com/office/officeart/2009/3/layout/RandomtoResultProcess"/>
    <dgm:cxn modelId="{DCC7CCA1-F5CF-4E75-B938-094E608007DD}" type="presParOf" srcId="{E2B83B18-E9C9-4E60-A3A5-59BD6146AC60}" destId="{6F3C66E8-2730-4FDB-9EF2-603AD04F547D}" srcOrd="0" destOrd="0" presId="urn:microsoft.com/office/officeart/2009/3/layout/RandomtoResultProcess"/>
    <dgm:cxn modelId="{FBD99532-F6BE-4634-86AE-60D773B45C9A}" type="presParOf" srcId="{E2B83B18-E9C9-4E60-A3A5-59BD6146AC60}" destId="{1B9AB551-8F05-4470-A309-21C834AD8654}" srcOrd="1" destOrd="0" presId="urn:microsoft.com/office/officeart/2009/3/layout/RandomtoResultProcess"/>
    <dgm:cxn modelId="{26698A64-FA1F-421A-87DE-D4CC348D0C6E}" type="presParOf" srcId="{F3096F5F-4B59-4570-B902-97E2E7C9A44A}" destId="{C1E53A04-6537-4A6D-9801-5EA2AA585A83}" srcOrd="2" destOrd="0" presId="urn:microsoft.com/office/officeart/2009/3/layout/RandomtoResultProcess"/>
    <dgm:cxn modelId="{E84145F3-C879-41FE-BAE4-38E78063A16B}" type="presParOf" srcId="{F3096F5F-4B59-4570-B902-97E2E7C9A44A}" destId="{E72F6310-46F9-46C2-AC91-75B594D1173E}" srcOrd="3" destOrd="0" presId="urn:microsoft.com/office/officeart/2009/3/layout/RandomtoResultProcess"/>
    <dgm:cxn modelId="{F784D137-B9D1-4756-A0AD-8766C9D5E29E}" type="presParOf" srcId="{E72F6310-46F9-46C2-AC91-75B594D1173E}" destId="{8877F107-8EE3-4673-A185-FDFDC419FD9E}" srcOrd="0" destOrd="0" presId="urn:microsoft.com/office/officeart/2009/3/layout/RandomtoResultProcess"/>
    <dgm:cxn modelId="{32D5A6FE-C5C1-4F76-A4C0-D2ECD8CA593C}" type="presParOf" srcId="{E72F6310-46F9-46C2-AC91-75B594D1173E}" destId="{CB53A256-279B-489C-AE19-3F4CE72A4D9E}" srcOrd="1" destOrd="0" presId="urn:microsoft.com/office/officeart/2009/3/layout/RandomtoResultProcess"/>
    <dgm:cxn modelId="{BCF184B3-1535-4883-AD4F-FFD3669EFB71}" type="presParOf" srcId="{F3096F5F-4B59-4570-B902-97E2E7C9A44A}" destId="{B021CA17-9D59-423A-9F01-A90982748C1B}" srcOrd="4" destOrd="0" presId="urn:microsoft.com/office/officeart/2009/3/layout/RandomtoResultProcess"/>
    <dgm:cxn modelId="{5C2A1CF2-F0E3-431B-BE80-D29D459BB1E6}" type="presParOf" srcId="{B021CA17-9D59-423A-9F01-A90982748C1B}" destId="{2AC59654-E9FA-4C9C-A956-09715168FB19}" srcOrd="0" destOrd="0" presId="urn:microsoft.com/office/officeart/2009/3/layout/RandomtoResultProcess"/>
    <dgm:cxn modelId="{2965C281-C295-40D1-8AA5-D5EA6EAEEE8D}" type="presParOf" srcId="{B021CA17-9D59-423A-9F01-A90982748C1B}" destId="{74685BAD-C9D3-4D0D-92F6-0F840EDBA03C}" srcOrd="1" destOrd="0" presId="urn:microsoft.com/office/officeart/2009/3/layout/RandomtoResult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CCBE6FF-FF76-41EE-B79C-6085DC0946E7}" type="doc">
      <dgm:prSet loTypeId="urn:microsoft.com/office/officeart/2005/8/layout/venn1" loCatId="relationship" qsTypeId="urn:microsoft.com/office/officeart/2005/8/quickstyle/simple1" qsCatId="simple" csTypeId="urn:microsoft.com/office/officeart/2005/8/colors/accent2_3" csCatId="accent2" phldr="1"/>
      <dgm:spPr/>
    </dgm:pt>
    <dgm:pt modelId="{9F2BC9F1-C45E-4522-BD62-AE2C4D7CD268}">
      <dgm:prSet phldrT="[文本]"/>
      <dgm:spPr/>
      <dgm:t>
        <a:bodyPr/>
        <a:lstStyle/>
        <a:p>
          <a:endParaRPr lang="zh-CN" altLang="en-US" dirty="0"/>
        </a:p>
      </dgm:t>
    </dgm:pt>
    <dgm:pt modelId="{31EECB65-6DFC-4B9B-ADA4-6D932412EF11}" type="parTrans" cxnId="{559E3CE2-8C8A-4318-BD88-B9C6916B1092}">
      <dgm:prSet/>
      <dgm:spPr/>
      <dgm:t>
        <a:bodyPr/>
        <a:lstStyle/>
        <a:p>
          <a:endParaRPr lang="zh-CN" altLang="en-US"/>
        </a:p>
      </dgm:t>
    </dgm:pt>
    <dgm:pt modelId="{1CA3E535-FDB0-4312-BC97-590E62563707}" type="sibTrans" cxnId="{559E3CE2-8C8A-4318-BD88-B9C6916B1092}">
      <dgm:prSet/>
      <dgm:spPr/>
      <dgm:t>
        <a:bodyPr/>
        <a:lstStyle/>
        <a:p>
          <a:endParaRPr lang="zh-CN" altLang="en-US"/>
        </a:p>
      </dgm:t>
    </dgm:pt>
    <dgm:pt modelId="{176929F7-7642-45ED-B91B-EB6ABBB78BB4}">
      <dgm:prSet phldrT="[文本]"/>
      <dgm:spPr/>
      <dgm:t>
        <a:bodyPr/>
        <a:lstStyle/>
        <a:p>
          <a:endParaRPr lang="zh-CN" altLang="en-US" dirty="0"/>
        </a:p>
      </dgm:t>
    </dgm:pt>
    <dgm:pt modelId="{DD37D012-9235-454E-ADB8-25B2BCD49A0E}" type="parTrans" cxnId="{F2D16380-EB92-472E-97F2-1C2B7601B306}">
      <dgm:prSet/>
      <dgm:spPr/>
      <dgm:t>
        <a:bodyPr/>
        <a:lstStyle/>
        <a:p>
          <a:endParaRPr lang="zh-CN" altLang="en-US"/>
        </a:p>
      </dgm:t>
    </dgm:pt>
    <dgm:pt modelId="{D86261A3-620E-47BB-92C3-3704B3C7A3DC}" type="sibTrans" cxnId="{F2D16380-EB92-472E-97F2-1C2B7601B306}">
      <dgm:prSet/>
      <dgm:spPr/>
      <dgm:t>
        <a:bodyPr/>
        <a:lstStyle/>
        <a:p>
          <a:endParaRPr lang="zh-CN" altLang="en-US"/>
        </a:p>
      </dgm:t>
    </dgm:pt>
    <dgm:pt modelId="{608CF1CA-4B26-4BFB-80B9-B505456DBDF5}">
      <dgm:prSet phldrT="[文本]"/>
      <dgm:spPr/>
      <dgm:t>
        <a:bodyPr/>
        <a:lstStyle/>
        <a:p>
          <a:endParaRPr lang="zh-CN" altLang="en-US" dirty="0"/>
        </a:p>
      </dgm:t>
    </dgm:pt>
    <dgm:pt modelId="{0DC330FC-888D-4935-977A-A0421440E39A}" type="parTrans" cxnId="{84943BCF-2333-4736-B0CB-368E80EE674B}">
      <dgm:prSet/>
      <dgm:spPr/>
      <dgm:t>
        <a:bodyPr/>
        <a:lstStyle/>
        <a:p>
          <a:endParaRPr lang="zh-CN" altLang="en-US"/>
        </a:p>
      </dgm:t>
    </dgm:pt>
    <dgm:pt modelId="{656A1139-14D0-4BF5-94CD-7D87F29902BC}" type="sibTrans" cxnId="{84943BCF-2333-4736-B0CB-368E80EE674B}">
      <dgm:prSet/>
      <dgm:spPr/>
      <dgm:t>
        <a:bodyPr/>
        <a:lstStyle/>
        <a:p>
          <a:endParaRPr lang="zh-CN" altLang="en-US"/>
        </a:p>
      </dgm:t>
    </dgm:pt>
    <dgm:pt modelId="{AAE23F33-57B0-4906-83B6-C4A157288551}" type="pres">
      <dgm:prSet presAssocID="{2CCBE6FF-FF76-41EE-B79C-6085DC0946E7}" presName="compositeShape" presStyleCnt="0">
        <dgm:presLayoutVars>
          <dgm:chMax val="7"/>
          <dgm:dir/>
          <dgm:resizeHandles val="exact"/>
        </dgm:presLayoutVars>
      </dgm:prSet>
      <dgm:spPr/>
    </dgm:pt>
    <dgm:pt modelId="{B4F38504-0760-462C-ADEE-F59CE3127E21}" type="pres">
      <dgm:prSet presAssocID="{9F2BC9F1-C45E-4522-BD62-AE2C4D7CD268}" presName="circ1" presStyleLbl="vennNode1" presStyleIdx="0" presStyleCnt="3"/>
      <dgm:spPr/>
      <dgm:t>
        <a:bodyPr/>
        <a:lstStyle/>
        <a:p>
          <a:endParaRPr lang="zh-CN" altLang="en-US"/>
        </a:p>
      </dgm:t>
    </dgm:pt>
    <dgm:pt modelId="{5D9B120F-9AEF-4205-AD3E-FA301493709C}" type="pres">
      <dgm:prSet presAssocID="{9F2BC9F1-C45E-4522-BD62-AE2C4D7CD268}" presName="circ1Tx" presStyleLbl="revTx" presStyleIdx="0" presStyleCnt="0">
        <dgm:presLayoutVars>
          <dgm:chMax val="0"/>
          <dgm:chPref val="0"/>
          <dgm:bulletEnabled val="1"/>
        </dgm:presLayoutVars>
      </dgm:prSet>
      <dgm:spPr/>
      <dgm:t>
        <a:bodyPr/>
        <a:lstStyle/>
        <a:p>
          <a:endParaRPr lang="zh-CN" altLang="en-US"/>
        </a:p>
      </dgm:t>
    </dgm:pt>
    <dgm:pt modelId="{25A89024-06A7-4419-AC09-03212F1AA91F}" type="pres">
      <dgm:prSet presAssocID="{176929F7-7642-45ED-B91B-EB6ABBB78BB4}" presName="circ2" presStyleLbl="vennNode1" presStyleIdx="1" presStyleCnt="3"/>
      <dgm:spPr/>
      <dgm:t>
        <a:bodyPr/>
        <a:lstStyle/>
        <a:p>
          <a:endParaRPr lang="zh-CN" altLang="en-US"/>
        </a:p>
      </dgm:t>
    </dgm:pt>
    <dgm:pt modelId="{0879610C-5B85-4B0E-B068-6A2412F1538B}" type="pres">
      <dgm:prSet presAssocID="{176929F7-7642-45ED-B91B-EB6ABBB78BB4}" presName="circ2Tx" presStyleLbl="revTx" presStyleIdx="0" presStyleCnt="0">
        <dgm:presLayoutVars>
          <dgm:chMax val="0"/>
          <dgm:chPref val="0"/>
          <dgm:bulletEnabled val="1"/>
        </dgm:presLayoutVars>
      </dgm:prSet>
      <dgm:spPr/>
      <dgm:t>
        <a:bodyPr/>
        <a:lstStyle/>
        <a:p>
          <a:endParaRPr lang="zh-CN" altLang="en-US"/>
        </a:p>
      </dgm:t>
    </dgm:pt>
    <dgm:pt modelId="{2DC65164-5F0A-439B-93DE-C57E525CEAFD}" type="pres">
      <dgm:prSet presAssocID="{608CF1CA-4B26-4BFB-80B9-B505456DBDF5}" presName="circ3" presStyleLbl="vennNode1" presStyleIdx="2" presStyleCnt="3"/>
      <dgm:spPr/>
      <dgm:t>
        <a:bodyPr/>
        <a:lstStyle/>
        <a:p>
          <a:endParaRPr lang="zh-CN" altLang="en-US"/>
        </a:p>
      </dgm:t>
    </dgm:pt>
    <dgm:pt modelId="{788234CF-7965-48BF-91DE-5B0D128FA8DB}" type="pres">
      <dgm:prSet presAssocID="{608CF1CA-4B26-4BFB-80B9-B505456DBDF5}" presName="circ3Tx" presStyleLbl="revTx" presStyleIdx="0" presStyleCnt="0">
        <dgm:presLayoutVars>
          <dgm:chMax val="0"/>
          <dgm:chPref val="0"/>
          <dgm:bulletEnabled val="1"/>
        </dgm:presLayoutVars>
      </dgm:prSet>
      <dgm:spPr/>
      <dgm:t>
        <a:bodyPr/>
        <a:lstStyle/>
        <a:p>
          <a:endParaRPr lang="zh-CN" altLang="en-US"/>
        </a:p>
      </dgm:t>
    </dgm:pt>
  </dgm:ptLst>
  <dgm:cxnLst>
    <dgm:cxn modelId="{9660D8B0-3E7C-4BC9-A10F-02885455247A}" type="presOf" srcId="{608CF1CA-4B26-4BFB-80B9-B505456DBDF5}" destId="{2DC65164-5F0A-439B-93DE-C57E525CEAFD}" srcOrd="0" destOrd="0" presId="urn:microsoft.com/office/officeart/2005/8/layout/venn1"/>
    <dgm:cxn modelId="{52B7C968-C541-4E18-9E10-6BE473BA9D72}" type="presOf" srcId="{176929F7-7642-45ED-B91B-EB6ABBB78BB4}" destId="{25A89024-06A7-4419-AC09-03212F1AA91F}" srcOrd="0" destOrd="0" presId="urn:microsoft.com/office/officeart/2005/8/layout/venn1"/>
    <dgm:cxn modelId="{559E3CE2-8C8A-4318-BD88-B9C6916B1092}" srcId="{2CCBE6FF-FF76-41EE-B79C-6085DC0946E7}" destId="{9F2BC9F1-C45E-4522-BD62-AE2C4D7CD268}" srcOrd="0" destOrd="0" parTransId="{31EECB65-6DFC-4B9B-ADA4-6D932412EF11}" sibTransId="{1CA3E535-FDB0-4312-BC97-590E62563707}"/>
    <dgm:cxn modelId="{76A761FE-5115-4668-BD84-702CC0FD6D16}" type="presOf" srcId="{176929F7-7642-45ED-B91B-EB6ABBB78BB4}" destId="{0879610C-5B85-4B0E-B068-6A2412F1538B}" srcOrd="1" destOrd="0" presId="urn:microsoft.com/office/officeart/2005/8/layout/venn1"/>
    <dgm:cxn modelId="{F2D16380-EB92-472E-97F2-1C2B7601B306}" srcId="{2CCBE6FF-FF76-41EE-B79C-6085DC0946E7}" destId="{176929F7-7642-45ED-B91B-EB6ABBB78BB4}" srcOrd="1" destOrd="0" parTransId="{DD37D012-9235-454E-ADB8-25B2BCD49A0E}" sibTransId="{D86261A3-620E-47BB-92C3-3704B3C7A3DC}"/>
    <dgm:cxn modelId="{8D7EFC1D-CC00-492C-A82D-C00C3270F664}" type="presOf" srcId="{608CF1CA-4B26-4BFB-80B9-B505456DBDF5}" destId="{788234CF-7965-48BF-91DE-5B0D128FA8DB}" srcOrd="1" destOrd="0" presId="urn:microsoft.com/office/officeart/2005/8/layout/venn1"/>
    <dgm:cxn modelId="{84943BCF-2333-4736-B0CB-368E80EE674B}" srcId="{2CCBE6FF-FF76-41EE-B79C-6085DC0946E7}" destId="{608CF1CA-4B26-4BFB-80B9-B505456DBDF5}" srcOrd="2" destOrd="0" parTransId="{0DC330FC-888D-4935-977A-A0421440E39A}" sibTransId="{656A1139-14D0-4BF5-94CD-7D87F29902BC}"/>
    <dgm:cxn modelId="{AA1118C8-0B30-4F54-87E0-35CA9F2F9847}" type="presOf" srcId="{9F2BC9F1-C45E-4522-BD62-AE2C4D7CD268}" destId="{B4F38504-0760-462C-ADEE-F59CE3127E21}" srcOrd="0" destOrd="0" presId="urn:microsoft.com/office/officeart/2005/8/layout/venn1"/>
    <dgm:cxn modelId="{7A764ED4-7C45-42A7-974C-8AC0316E999A}" type="presOf" srcId="{2CCBE6FF-FF76-41EE-B79C-6085DC0946E7}" destId="{AAE23F33-57B0-4906-83B6-C4A157288551}" srcOrd="0" destOrd="0" presId="urn:microsoft.com/office/officeart/2005/8/layout/venn1"/>
    <dgm:cxn modelId="{AA51FA8C-05A0-4574-9901-2FC7C7425C4B}" type="presOf" srcId="{9F2BC9F1-C45E-4522-BD62-AE2C4D7CD268}" destId="{5D9B120F-9AEF-4205-AD3E-FA301493709C}" srcOrd="1" destOrd="0" presId="urn:microsoft.com/office/officeart/2005/8/layout/venn1"/>
    <dgm:cxn modelId="{299A8C36-66DE-4684-AB75-321A8AB1E0E6}" type="presParOf" srcId="{AAE23F33-57B0-4906-83B6-C4A157288551}" destId="{B4F38504-0760-462C-ADEE-F59CE3127E21}" srcOrd="0" destOrd="0" presId="urn:microsoft.com/office/officeart/2005/8/layout/venn1"/>
    <dgm:cxn modelId="{5E579CA4-9C0C-4753-B3C2-0284B66A6D39}" type="presParOf" srcId="{AAE23F33-57B0-4906-83B6-C4A157288551}" destId="{5D9B120F-9AEF-4205-AD3E-FA301493709C}" srcOrd="1" destOrd="0" presId="urn:microsoft.com/office/officeart/2005/8/layout/venn1"/>
    <dgm:cxn modelId="{1C77881F-6807-4C9E-B5F6-A3AC5D1CEBB6}" type="presParOf" srcId="{AAE23F33-57B0-4906-83B6-C4A157288551}" destId="{25A89024-06A7-4419-AC09-03212F1AA91F}" srcOrd="2" destOrd="0" presId="urn:microsoft.com/office/officeart/2005/8/layout/venn1"/>
    <dgm:cxn modelId="{45D49295-F727-4A47-AD35-5FD135BB2415}" type="presParOf" srcId="{AAE23F33-57B0-4906-83B6-C4A157288551}" destId="{0879610C-5B85-4B0E-B068-6A2412F1538B}" srcOrd="3" destOrd="0" presId="urn:microsoft.com/office/officeart/2005/8/layout/venn1"/>
    <dgm:cxn modelId="{8F2623A2-9171-46D2-9AD5-4A5CD83461DE}" type="presParOf" srcId="{AAE23F33-57B0-4906-83B6-C4A157288551}" destId="{2DC65164-5F0A-439B-93DE-C57E525CEAFD}" srcOrd="4" destOrd="0" presId="urn:microsoft.com/office/officeart/2005/8/layout/venn1"/>
    <dgm:cxn modelId="{06ADFDDD-E7A3-462C-B17A-BC3678EEDB62}" type="presParOf" srcId="{AAE23F33-57B0-4906-83B6-C4A157288551}" destId="{788234CF-7965-48BF-91DE-5B0D128FA8DB}"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2CCBE6FF-FF76-41EE-B79C-6085DC0946E7}" type="doc">
      <dgm:prSet loTypeId="urn:microsoft.com/office/officeart/2005/8/layout/venn1" loCatId="relationship" qsTypeId="urn:microsoft.com/office/officeart/2005/8/quickstyle/simple1" qsCatId="simple" csTypeId="urn:microsoft.com/office/officeart/2005/8/colors/accent2_3" csCatId="accent2" phldr="1"/>
      <dgm:spPr/>
    </dgm:pt>
    <dgm:pt modelId="{9F2BC9F1-C45E-4522-BD62-AE2C4D7CD268}">
      <dgm:prSet phldrT="[文本]"/>
      <dgm:spPr/>
      <dgm:t>
        <a:bodyPr/>
        <a:lstStyle/>
        <a:p>
          <a:endParaRPr lang="zh-CN" altLang="en-US" dirty="0"/>
        </a:p>
      </dgm:t>
    </dgm:pt>
    <dgm:pt modelId="{31EECB65-6DFC-4B9B-ADA4-6D932412EF11}" type="parTrans" cxnId="{559E3CE2-8C8A-4318-BD88-B9C6916B1092}">
      <dgm:prSet/>
      <dgm:spPr/>
      <dgm:t>
        <a:bodyPr/>
        <a:lstStyle/>
        <a:p>
          <a:endParaRPr lang="zh-CN" altLang="en-US"/>
        </a:p>
      </dgm:t>
    </dgm:pt>
    <dgm:pt modelId="{1CA3E535-FDB0-4312-BC97-590E62563707}" type="sibTrans" cxnId="{559E3CE2-8C8A-4318-BD88-B9C6916B1092}">
      <dgm:prSet/>
      <dgm:spPr/>
      <dgm:t>
        <a:bodyPr/>
        <a:lstStyle/>
        <a:p>
          <a:endParaRPr lang="zh-CN" altLang="en-US"/>
        </a:p>
      </dgm:t>
    </dgm:pt>
    <dgm:pt modelId="{176929F7-7642-45ED-B91B-EB6ABBB78BB4}">
      <dgm:prSet phldrT="[文本]"/>
      <dgm:spPr/>
      <dgm:t>
        <a:bodyPr/>
        <a:lstStyle/>
        <a:p>
          <a:endParaRPr lang="zh-CN" altLang="en-US" dirty="0"/>
        </a:p>
      </dgm:t>
    </dgm:pt>
    <dgm:pt modelId="{DD37D012-9235-454E-ADB8-25B2BCD49A0E}" type="parTrans" cxnId="{F2D16380-EB92-472E-97F2-1C2B7601B306}">
      <dgm:prSet/>
      <dgm:spPr/>
      <dgm:t>
        <a:bodyPr/>
        <a:lstStyle/>
        <a:p>
          <a:endParaRPr lang="zh-CN" altLang="en-US"/>
        </a:p>
      </dgm:t>
    </dgm:pt>
    <dgm:pt modelId="{D86261A3-620E-47BB-92C3-3704B3C7A3DC}" type="sibTrans" cxnId="{F2D16380-EB92-472E-97F2-1C2B7601B306}">
      <dgm:prSet/>
      <dgm:spPr/>
      <dgm:t>
        <a:bodyPr/>
        <a:lstStyle/>
        <a:p>
          <a:endParaRPr lang="zh-CN" altLang="en-US"/>
        </a:p>
      </dgm:t>
    </dgm:pt>
    <dgm:pt modelId="{608CF1CA-4B26-4BFB-80B9-B505456DBDF5}">
      <dgm:prSet phldrT="[文本]"/>
      <dgm:spPr/>
      <dgm:t>
        <a:bodyPr/>
        <a:lstStyle/>
        <a:p>
          <a:endParaRPr lang="zh-CN" altLang="en-US" dirty="0"/>
        </a:p>
      </dgm:t>
    </dgm:pt>
    <dgm:pt modelId="{0DC330FC-888D-4935-977A-A0421440E39A}" type="parTrans" cxnId="{84943BCF-2333-4736-B0CB-368E80EE674B}">
      <dgm:prSet/>
      <dgm:spPr/>
      <dgm:t>
        <a:bodyPr/>
        <a:lstStyle/>
        <a:p>
          <a:endParaRPr lang="zh-CN" altLang="en-US"/>
        </a:p>
      </dgm:t>
    </dgm:pt>
    <dgm:pt modelId="{656A1139-14D0-4BF5-94CD-7D87F29902BC}" type="sibTrans" cxnId="{84943BCF-2333-4736-B0CB-368E80EE674B}">
      <dgm:prSet/>
      <dgm:spPr/>
      <dgm:t>
        <a:bodyPr/>
        <a:lstStyle/>
        <a:p>
          <a:endParaRPr lang="zh-CN" altLang="en-US"/>
        </a:p>
      </dgm:t>
    </dgm:pt>
    <dgm:pt modelId="{AAE23F33-57B0-4906-83B6-C4A157288551}" type="pres">
      <dgm:prSet presAssocID="{2CCBE6FF-FF76-41EE-B79C-6085DC0946E7}" presName="compositeShape" presStyleCnt="0">
        <dgm:presLayoutVars>
          <dgm:chMax val="7"/>
          <dgm:dir/>
          <dgm:resizeHandles val="exact"/>
        </dgm:presLayoutVars>
      </dgm:prSet>
      <dgm:spPr/>
    </dgm:pt>
    <dgm:pt modelId="{B4F38504-0760-462C-ADEE-F59CE3127E21}" type="pres">
      <dgm:prSet presAssocID="{9F2BC9F1-C45E-4522-BD62-AE2C4D7CD268}" presName="circ1" presStyleLbl="vennNode1" presStyleIdx="0" presStyleCnt="3"/>
      <dgm:spPr/>
      <dgm:t>
        <a:bodyPr/>
        <a:lstStyle/>
        <a:p>
          <a:endParaRPr lang="zh-CN" altLang="en-US"/>
        </a:p>
      </dgm:t>
    </dgm:pt>
    <dgm:pt modelId="{5D9B120F-9AEF-4205-AD3E-FA301493709C}" type="pres">
      <dgm:prSet presAssocID="{9F2BC9F1-C45E-4522-BD62-AE2C4D7CD268}" presName="circ1Tx" presStyleLbl="revTx" presStyleIdx="0" presStyleCnt="0">
        <dgm:presLayoutVars>
          <dgm:chMax val="0"/>
          <dgm:chPref val="0"/>
          <dgm:bulletEnabled val="1"/>
        </dgm:presLayoutVars>
      </dgm:prSet>
      <dgm:spPr/>
      <dgm:t>
        <a:bodyPr/>
        <a:lstStyle/>
        <a:p>
          <a:endParaRPr lang="zh-CN" altLang="en-US"/>
        </a:p>
      </dgm:t>
    </dgm:pt>
    <dgm:pt modelId="{25A89024-06A7-4419-AC09-03212F1AA91F}" type="pres">
      <dgm:prSet presAssocID="{176929F7-7642-45ED-B91B-EB6ABBB78BB4}" presName="circ2" presStyleLbl="vennNode1" presStyleIdx="1" presStyleCnt="3"/>
      <dgm:spPr/>
      <dgm:t>
        <a:bodyPr/>
        <a:lstStyle/>
        <a:p>
          <a:endParaRPr lang="zh-CN" altLang="en-US"/>
        </a:p>
      </dgm:t>
    </dgm:pt>
    <dgm:pt modelId="{0879610C-5B85-4B0E-B068-6A2412F1538B}" type="pres">
      <dgm:prSet presAssocID="{176929F7-7642-45ED-B91B-EB6ABBB78BB4}" presName="circ2Tx" presStyleLbl="revTx" presStyleIdx="0" presStyleCnt="0">
        <dgm:presLayoutVars>
          <dgm:chMax val="0"/>
          <dgm:chPref val="0"/>
          <dgm:bulletEnabled val="1"/>
        </dgm:presLayoutVars>
      </dgm:prSet>
      <dgm:spPr/>
      <dgm:t>
        <a:bodyPr/>
        <a:lstStyle/>
        <a:p>
          <a:endParaRPr lang="zh-CN" altLang="en-US"/>
        </a:p>
      </dgm:t>
    </dgm:pt>
    <dgm:pt modelId="{2DC65164-5F0A-439B-93DE-C57E525CEAFD}" type="pres">
      <dgm:prSet presAssocID="{608CF1CA-4B26-4BFB-80B9-B505456DBDF5}" presName="circ3" presStyleLbl="vennNode1" presStyleIdx="2" presStyleCnt="3"/>
      <dgm:spPr/>
      <dgm:t>
        <a:bodyPr/>
        <a:lstStyle/>
        <a:p>
          <a:endParaRPr lang="zh-CN" altLang="en-US"/>
        </a:p>
      </dgm:t>
    </dgm:pt>
    <dgm:pt modelId="{788234CF-7965-48BF-91DE-5B0D128FA8DB}" type="pres">
      <dgm:prSet presAssocID="{608CF1CA-4B26-4BFB-80B9-B505456DBDF5}" presName="circ3Tx" presStyleLbl="revTx" presStyleIdx="0" presStyleCnt="0">
        <dgm:presLayoutVars>
          <dgm:chMax val="0"/>
          <dgm:chPref val="0"/>
          <dgm:bulletEnabled val="1"/>
        </dgm:presLayoutVars>
      </dgm:prSet>
      <dgm:spPr/>
      <dgm:t>
        <a:bodyPr/>
        <a:lstStyle/>
        <a:p>
          <a:endParaRPr lang="zh-CN" altLang="en-US"/>
        </a:p>
      </dgm:t>
    </dgm:pt>
  </dgm:ptLst>
  <dgm:cxnLst>
    <dgm:cxn modelId="{9660D8B0-3E7C-4BC9-A10F-02885455247A}" type="presOf" srcId="{608CF1CA-4B26-4BFB-80B9-B505456DBDF5}" destId="{2DC65164-5F0A-439B-93DE-C57E525CEAFD}" srcOrd="0" destOrd="0" presId="urn:microsoft.com/office/officeart/2005/8/layout/venn1"/>
    <dgm:cxn modelId="{52B7C968-C541-4E18-9E10-6BE473BA9D72}" type="presOf" srcId="{176929F7-7642-45ED-B91B-EB6ABBB78BB4}" destId="{25A89024-06A7-4419-AC09-03212F1AA91F}" srcOrd="0" destOrd="0" presId="urn:microsoft.com/office/officeart/2005/8/layout/venn1"/>
    <dgm:cxn modelId="{559E3CE2-8C8A-4318-BD88-B9C6916B1092}" srcId="{2CCBE6FF-FF76-41EE-B79C-6085DC0946E7}" destId="{9F2BC9F1-C45E-4522-BD62-AE2C4D7CD268}" srcOrd="0" destOrd="0" parTransId="{31EECB65-6DFC-4B9B-ADA4-6D932412EF11}" sibTransId="{1CA3E535-FDB0-4312-BC97-590E62563707}"/>
    <dgm:cxn modelId="{76A761FE-5115-4668-BD84-702CC0FD6D16}" type="presOf" srcId="{176929F7-7642-45ED-B91B-EB6ABBB78BB4}" destId="{0879610C-5B85-4B0E-B068-6A2412F1538B}" srcOrd="1" destOrd="0" presId="urn:microsoft.com/office/officeart/2005/8/layout/venn1"/>
    <dgm:cxn modelId="{F2D16380-EB92-472E-97F2-1C2B7601B306}" srcId="{2CCBE6FF-FF76-41EE-B79C-6085DC0946E7}" destId="{176929F7-7642-45ED-B91B-EB6ABBB78BB4}" srcOrd="1" destOrd="0" parTransId="{DD37D012-9235-454E-ADB8-25B2BCD49A0E}" sibTransId="{D86261A3-620E-47BB-92C3-3704B3C7A3DC}"/>
    <dgm:cxn modelId="{8D7EFC1D-CC00-492C-A82D-C00C3270F664}" type="presOf" srcId="{608CF1CA-4B26-4BFB-80B9-B505456DBDF5}" destId="{788234CF-7965-48BF-91DE-5B0D128FA8DB}" srcOrd="1" destOrd="0" presId="urn:microsoft.com/office/officeart/2005/8/layout/venn1"/>
    <dgm:cxn modelId="{84943BCF-2333-4736-B0CB-368E80EE674B}" srcId="{2CCBE6FF-FF76-41EE-B79C-6085DC0946E7}" destId="{608CF1CA-4B26-4BFB-80B9-B505456DBDF5}" srcOrd="2" destOrd="0" parTransId="{0DC330FC-888D-4935-977A-A0421440E39A}" sibTransId="{656A1139-14D0-4BF5-94CD-7D87F29902BC}"/>
    <dgm:cxn modelId="{AA1118C8-0B30-4F54-87E0-35CA9F2F9847}" type="presOf" srcId="{9F2BC9F1-C45E-4522-BD62-AE2C4D7CD268}" destId="{B4F38504-0760-462C-ADEE-F59CE3127E21}" srcOrd="0" destOrd="0" presId="urn:microsoft.com/office/officeart/2005/8/layout/venn1"/>
    <dgm:cxn modelId="{7A764ED4-7C45-42A7-974C-8AC0316E999A}" type="presOf" srcId="{2CCBE6FF-FF76-41EE-B79C-6085DC0946E7}" destId="{AAE23F33-57B0-4906-83B6-C4A157288551}" srcOrd="0" destOrd="0" presId="urn:microsoft.com/office/officeart/2005/8/layout/venn1"/>
    <dgm:cxn modelId="{AA51FA8C-05A0-4574-9901-2FC7C7425C4B}" type="presOf" srcId="{9F2BC9F1-C45E-4522-BD62-AE2C4D7CD268}" destId="{5D9B120F-9AEF-4205-AD3E-FA301493709C}" srcOrd="1" destOrd="0" presId="urn:microsoft.com/office/officeart/2005/8/layout/venn1"/>
    <dgm:cxn modelId="{299A8C36-66DE-4684-AB75-321A8AB1E0E6}" type="presParOf" srcId="{AAE23F33-57B0-4906-83B6-C4A157288551}" destId="{B4F38504-0760-462C-ADEE-F59CE3127E21}" srcOrd="0" destOrd="0" presId="urn:microsoft.com/office/officeart/2005/8/layout/venn1"/>
    <dgm:cxn modelId="{5E579CA4-9C0C-4753-B3C2-0284B66A6D39}" type="presParOf" srcId="{AAE23F33-57B0-4906-83B6-C4A157288551}" destId="{5D9B120F-9AEF-4205-AD3E-FA301493709C}" srcOrd="1" destOrd="0" presId="urn:microsoft.com/office/officeart/2005/8/layout/venn1"/>
    <dgm:cxn modelId="{1C77881F-6807-4C9E-B5F6-A3AC5D1CEBB6}" type="presParOf" srcId="{AAE23F33-57B0-4906-83B6-C4A157288551}" destId="{25A89024-06A7-4419-AC09-03212F1AA91F}" srcOrd="2" destOrd="0" presId="urn:microsoft.com/office/officeart/2005/8/layout/venn1"/>
    <dgm:cxn modelId="{45D49295-F727-4A47-AD35-5FD135BB2415}" type="presParOf" srcId="{AAE23F33-57B0-4906-83B6-C4A157288551}" destId="{0879610C-5B85-4B0E-B068-6A2412F1538B}" srcOrd="3" destOrd="0" presId="urn:microsoft.com/office/officeart/2005/8/layout/venn1"/>
    <dgm:cxn modelId="{8F2623A2-9171-46D2-9AD5-4A5CD83461DE}" type="presParOf" srcId="{AAE23F33-57B0-4906-83B6-C4A157288551}" destId="{2DC65164-5F0A-439B-93DE-C57E525CEAFD}" srcOrd="4" destOrd="0" presId="urn:microsoft.com/office/officeart/2005/8/layout/venn1"/>
    <dgm:cxn modelId="{06ADFDDD-E7A3-462C-B17A-BC3678EEDB62}" type="presParOf" srcId="{AAE23F33-57B0-4906-83B6-C4A157288551}" destId="{788234CF-7965-48BF-91DE-5B0D128FA8DB}"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2E7DF95-DA61-4D66-B4E3-58ED551B8527}" type="doc">
      <dgm:prSet loTypeId="urn:microsoft.com/office/officeart/2005/8/layout/gear1" loCatId="cycle" qsTypeId="urn:microsoft.com/office/officeart/2005/8/quickstyle/simple1" qsCatId="simple" csTypeId="urn:microsoft.com/office/officeart/2005/8/colors/accent1_2" csCatId="accent1" phldr="1"/>
      <dgm:spPr/>
    </dgm:pt>
    <dgm:pt modelId="{29F80793-72E5-4DF7-91A8-0B87E58E5B0C}">
      <dgm:prSet phldrT="[文本]"/>
      <dgm:spPr>
        <a:solidFill>
          <a:srgbClr val="FFC000"/>
        </a:solidFill>
      </dgm:spPr>
      <dgm:t>
        <a:bodyPr/>
        <a:lstStyle/>
        <a:p>
          <a:endParaRPr lang="zh-CN" altLang="en-US" dirty="0"/>
        </a:p>
      </dgm:t>
    </dgm:pt>
    <dgm:pt modelId="{8BE8564C-AE11-4423-A460-79B99B23B232}" type="parTrans" cxnId="{F3C417C4-2248-4DEA-BF45-D5E0331731C5}">
      <dgm:prSet/>
      <dgm:spPr/>
      <dgm:t>
        <a:bodyPr/>
        <a:lstStyle/>
        <a:p>
          <a:endParaRPr lang="zh-CN" altLang="en-US"/>
        </a:p>
      </dgm:t>
    </dgm:pt>
    <dgm:pt modelId="{0A8003A2-0EBB-4AFA-983C-0ED81831997C}" type="sibTrans" cxnId="{F3C417C4-2248-4DEA-BF45-D5E0331731C5}">
      <dgm:prSet/>
      <dgm:spPr>
        <a:solidFill>
          <a:schemeClr val="accent4"/>
        </a:solidFill>
      </dgm:spPr>
      <dgm:t>
        <a:bodyPr/>
        <a:lstStyle/>
        <a:p>
          <a:endParaRPr lang="zh-CN" altLang="en-US"/>
        </a:p>
      </dgm:t>
    </dgm:pt>
    <dgm:pt modelId="{E101B3DF-0E5A-4E6A-B445-323E4ECDEC3D}">
      <dgm:prSet phldrT="[文本]"/>
      <dgm:spPr>
        <a:solidFill>
          <a:srgbClr val="FFC000"/>
        </a:solidFill>
      </dgm:spPr>
      <dgm:t>
        <a:bodyPr/>
        <a:lstStyle/>
        <a:p>
          <a:endParaRPr lang="zh-CN" altLang="en-US" dirty="0"/>
        </a:p>
      </dgm:t>
    </dgm:pt>
    <dgm:pt modelId="{E76B6DB6-69CA-472D-A30E-A041D911D62E}" type="parTrans" cxnId="{E6C9D4AB-46F9-4F84-AF20-8B3F1EC589A8}">
      <dgm:prSet/>
      <dgm:spPr/>
      <dgm:t>
        <a:bodyPr/>
        <a:lstStyle/>
        <a:p>
          <a:endParaRPr lang="zh-CN" altLang="en-US"/>
        </a:p>
      </dgm:t>
    </dgm:pt>
    <dgm:pt modelId="{E2F8CF58-3309-4D3F-865B-A53395026D4A}" type="sibTrans" cxnId="{E6C9D4AB-46F9-4F84-AF20-8B3F1EC589A8}">
      <dgm:prSet/>
      <dgm:spPr>
        <a:solidFill>
          <a:schemeClr val="accent4"/>
        </a:solidFill>
      </dgm:spPr>
      <dgm:t>
        <a:bodyPr/>
        <a:lstStyle/>
        <a:p>
          <a:endParaRPr lang="zh-CN" altLang="en-US"/>
        </a:p>
      </dgm:t>
    </dgm:pt>
    <dgm:pt modelId="{53CD3D03-D514-4CDD-9A68-564639611731}">
      <dgm:prSet phldrT="[文本]"/>
      <dgm:spPr>
        <a:solidFill>
          <a:srgbClr val="FFC000"/>
        </a:solidFill>
      </dgm:spPr>
      <dgm:t>
        <a:bodyPr/>
        <a:lstStyle/>
        <a:p>
          <a:endParaRPr lang="zh-CN" altLang="en-US" dirty="0"/>
        </a:p>
      </dgm:t>
    </dgm:pt>
    <dgm:pt modelId="{C1F63713-58CB-475F-A419-7E1D17C8D21E}" type="parTrans" cxnId="{A3CFA4C9-EF2A-493A-BA51-4F48747AAA77}">
      <dgm:prSet/>
      <dgm:spPr/>
      <dgm:t>
        <a:bodyPr/>
        <a:lstStyle/>
        <a:p>
          <a:endParaRPr lang="zh-CN" altLang="en-US"/>
        </a:p>
      </dgm:t>
    </dgm:pt>
    <dgm:pt modelId="{AEC76871-3B5F-45AD-95AB-CBD6B65CD413}" type="sibTrans" cxnId="{A3CFA4C9-EF2A-493A-BA51-4F48747AAA77}">
      <dgm:prSet/>
      <dgm:spPr>
        <a:solidFill>
          <a:schemeClr val="accent4"/>
        </a:solidFill>
      </dgm:spPr>
      <dgm:t>
        <a:bodyPr/>
        <a:lstStyle/>
        <a:p>
          <a:endParaRPr lang="zh-CN" altLang="en-US"/>
        </a:p>
      </dgm:t>
    </dgm:pt>
    <dgm:pt modelId="{1DD34B97-87A0-4BB1-8298-0E0AEF8F6BE5}" type="pres">
      <dgm:prSet presAssocID="{82E7DF95-DA61-4D66-B4E3-58ED551B8527}" presName="composite" presStyleCnt="0">
        <dgm:presLayoutVars>
          <dgm:chMax val="3"/>
          <dgm:animLvl val="lvl"/>
          <dgm:resizeHandles val="exact"/>
        </dgm:presLayoutVars>
      </dgm:prSet>
      <dgm:spPr/>
    </dgm:pt>
    <dgm:pt modelId="{B812FE42-DC2B-4804-8496-005CE33A132E}" type="pres">
      <dgm:prSet presAssocID="{29F80793-72E5-4DF7-91A8-0B87E58E5B0C}" presName="gear1" presStyleLbl="node1" presStyleIdx="0" presStyleCnt="3">
        <dgm:presLayoutVars>
          <dgm:chMax val="1"/>
          <dgm:bulletEnabled val="1"/>
        </dgm:presLayoutVars>
      </dgm:prSet>
      <dgm:spPr/>
      <dgm:t>
        <a:bodyPr/>
        <a:lstStyle/>
        <a:p>
          <a:endParaRPr lang="zh-CN" altLang="en-US"/>
        </a:p>
      </dgm:t>
    </dgm:pt>
    <dgm:pt modelId="{19416EF6-0FF3-4B0E-8F15-A934D8ECEA09}" type="pres">
      <dgm:prSet presAssocID="{29F80793-72E5-4DF7-91A8-0B87E58E5B0C}" presName="gear1srcNode" presStyleLbl="node1" presStyleIdx="0" presStyleCnt="3"/>
      <dgm:spPr/>
      <dgm:t>
        <a:bodyPr/>
        <a:lstStyle/>
        <a:p>
          <a:endParaRPr lang="zh-CN" altLang="en-US"/>
        </a:p>
      </dgm:t>
    </dgm:pt>
    <dgm:pt modelId="{1078469E-F0FE-4DE3-89DB-65DA23F53089}" type="pres">
      <dgm:prSet presAssocID="{29F80793-72E5-4DF7-91A8-0B87E58E5B0C}" presName="gear1dstNode" presStyleLbl="node1" presStyleIdx="0" presStyleCnt="3"/>
      <dgm:spPr/>
      <dgm:t>
        <a:bodyPr/>
        <a:lstStyle/>
        <a:p>
          <a:endParaRPr lang="zh-CN" altLang="en-US"/>
        </a:p>
      </dgm:t>
    </dgm:pt>
    <dgm:pt modelId="{F365ED03-9BF4-4BB8-A7D3-381B251DCD91}" type="pres">
      <dgm:prSet presAssocID="{E101B3DF-0E5A-4E6A-B445-323E4ECDEC3D}" presName="gear2" presStyleLbl="node1" presStyleIdx="1" presStyleCnt="3">
        <dgm:presLayoutVars>
          <dgm:chMax val="1"/>
          <dgm:bulletEnabled val="1"/>
        </dgm:presLayoutVars>
      </dgm:prSet>
      <dgm:spPr/>
      <dgm:t>
        <a:bodyPr/>
        <a:lstStyle/>
        <a:p>
          <a:endParaRPr lang="zh-CN" altLang="en-US"/>
        </a:p>
      </dgm:t>
    </dgm:pt>
    <dgm:pt modelId="{3EE26A44-8A4F-4640-9991-135D4BD9B451}" type="pres">
      <dgm:prSet presAssocID="{E101B3DF-0E5A-4E6A-B445-323E4ECDEC3D}" presName="gear2srcNode" presStyleLbl="node1" presStyleIdx="1" presStyleCnt="3"/>
      <dgm:spPr/>
      <dgm:t>
        <a:bodyPr/>
        <a:lstStyle/>
        <a:p>
          <a:endParaRPr lang="zh-CN" altLang="en-US"/>
        </a:p>
      </dgm:t>
    </dgm:pt>
    <dgm:pt modelId="{4AD6AE96-5337-4983-8C06-CB5546AFCAD9}" type="pres">
      <dgm:prSet presAssocID="{E101B3DF-0E5A-4E6A-B445-323E4ECDEC3D}" presName="gear2dstNode" presStyleLbl="node1" presStyleIdx="1" presStyleCnt="3"/>
      <dgm:spPr/>
      <dgm:t>
        <a:bodyPr/>
        <a:lstStyle/>
        <a:p>
          <a:endParaRPr lang="zh-CN" altLang="en-US"/>
        </a:p>
      </dgm:t>
    </dgm:pt>
    <dgm:pt modelId="{FD79F651-EACF-442A-8289-AC88C3557A18}" type="pres">
      <dgm:prSet presAssocID="{53CD3D03-D514-4CDD-9A68-564639611731}" presName="gear3" presStyleLbl="node1" presStyleIdx="2" presStyleCnt="3"/>
      <dgm:spPr/>
      <dgm:t>
        <a:bodyPr/>
        <a:lstStyle/>
        <a:p>
          <a:endParaRPr lang="zh-CN" altLang="en-US"/>
        </a:p>
      </dgm:t>
    </dgm:pt>
    <dgm:pt modelId="{27FAF9CC-CE49-4EAD-85C3-9E016EF82619}" type="pres">
      <dgm:prSet presAssocID="{53CD3D03-D514-4CDD-9A68-564639611731}" presName="gear3tx" presStyleLbl="node1" presStyleIdx="2" presStyleCnt="3">
        <dgm:presLayoutVars>
          <dgm:chMax val="1"/>
          <dgm:bulletEnabled val="1"/>
        </dgm:presLayoutVars>
      </dgm:prSet>
      <dgm:spPr/>
      <dgm:t>
        <a:bodyPr/>
        <a:lstStyle/>
        <a:p>
          <a:endParaRPr lang="zh-CN" altLang="en-US"/>
        </a:p>
      </dgm:t>
    </dgm:pt>
    <dgm:pt modelId="{0B1FDFA7-6B1E-43C7-914E-123E42CE175C}" type="pres">
      <dgm:prSet presAssocID="{53CD3D03-D514-4CDD-9A68-564639611731}" presName="gear3srcNode" presStyleLbl="node1" presStyleIdx="2" presStyleCnt="3"/>
      <dgm:spPr/>
      <dgm:t>
        <a:bodyPr/>
        <a:lstStyle/>
        <a:p>
          <a:endParaRPr lang="zh-CN" altLang="en-US"/>
        </a:p>
      </dgm:t>
    </dgm:pt>
    <dgm:pt modelId="{F84C58F5-BCD5-450D-B97E-318672F1CDD2}" type="pres">
      <dgm:prSet presAssocID="{53CD3D03-D514-4CDD-9A68-564639611731}" presName="gear3dstNode" presStyleLbl="node1" presStyleIdx="2" presStyleCnt="3"/>
      <dgm:spPr/>
      <dgm:t>
        <a:bodyPr/>
        <a:lstStyle/>
        <a:p>
          <a:endParaRPr lang="zh-CN" altLang="en-US"/>
        </a:p>
      </dgm:t>
    </dgm:pt>
    <dgm:pt modelId="{FBC068CE-CED3-4AC0-94C4-C4636CA60752}" type="pres">
      <dgm:prSet presAssocID="{0A8003A2-0EBB-4AFA-983C-0ED81831997C}" presName="connector1" presStyleLbl="sibTrans2D1" presStyleIdx="0" presStyleCnt="3"/>
      <dgm:spPr/>
      <dgm:t>
        <a:bodyPr/>
        <a:lstStyle/>
        <a:p>
          <a:endParaRPr lang="zh-CN" altLang="en-US"/>
        </a:p>
      </dgm:t>
    </dgm:pt>
    <dgm:pt modelId="{2556FE84-10EB-4259-B46E-27BE2D2E469B}" type="pres">
      <dgm:prSet presAssocID="{E2F8CF58-3309-4D3F-865B-A53395026D4A}" presName="connector2" presStyleLbl="sibTrans2D1" presStyleIdx="1" presStyleCnt="3"/>
      <dgm:spPr/>
      <dgm:t>
        <a:bodyPr/>
        <a:lstStyle/>
        <a:p>
          <a:endParaRPr lang="zh-CN" altLang="en-US"/>
        </a:p>
      </dgm:t>
    </dgm:pt>
    <dgm:pt modelId="{51E867BA-E607-4FC5-B8B3-5DDEE42DE07D}" type="pres">
      <dgm:prSet presAssocID="{AEC76871-3B5F-45AD-95AB-CBD6B65CD413}" presName="connector3" presStyleLbl="sibTrans2D1" presStyleIdx="2" presStyleCnt="3"/>
      <dgm:spPr/>
      <dgm:t>
        <a:bodyPr/>
        <a:lstStyle/>
        <a:p>
          <a:endParaRPr lang="zh-CN" altLang="en-US"/>
        </a:p>
      </dgm:t>
    </dgm:pt>
  </dgm:ptLst>
  <dgm:cxnLst>
    <dgm:cxn modelId="{363CC8F8-C76C-4AA4-81B6-B87DDDC0C717}" type="presOf" srcId="{E2F8CF58-3309-4D3F-865B-A53395026D4A}" destId="{2556FE84-10EB-4259-B46E-27BE2D2E469B}" srcOrd="0" destOrd="0" presId="urn:microsoft.com/office/officeart/2005/8/layout/gear1"/>
    <dgm:cxn modelId="{E6C9D4AB-46F9-4F84-AF20-8B3F1EC589A8}" srcId="{82E7DF95-DA61-4D66-B4E3-58ED551B8527}" destId="{E101B3DF-0E5A-4E6A-B445-323E4ECDEC3D}" srcOrd="1" destOrd="0" parTransId="{E76B6DB6-69CA-472D-A30E-A041D911D62E}" sibTransId="{E2F8CF58-3309-4D3F-865B-A53395026D4A}"/>
    <dgm:cxn modelId="{C1D4DE46-EB78-4B84-AE91-D868D50BBE8E}" type="presOf" srcId="{82E7DF95-DA61-4D66-B4E3-58ED551B8527}" destId="{1DD34B97-87A0-4BB1-8298-0E0AEF8F6BE5}" srcOrd="0" destOrd="0" presId="urn:microsoft.com/office/officeart/2005/8/layout/gear1"/>
    <dgm:cxn modelId="{6573BD2B-731C-4C0D-90AB-F90214BC7063}" type="presOf" srcId="{29F80793-72E5-4DF7-91A8-0B87E58E5B0C}" destId="{19416EF6-0FF3-4B0E-8F15-A934D8ECEA09}" srcOrd="1" destOrd="0" presId="urn:microsoft.com/office/officeart/2005/8/layout/gear1"/>
    <dgm:cxn modelId="{D55B0F80-046C-4F4D-A2C0-96CD9668A8E9}" type="presOf" srcId="{E101B3DF-0E5A-4E6A-B445-323E4ECDEC3D}" destId="{4AD6AE96-5337-4983-8C06-CB5546AFCAD9}" srcOrd="2" destOrd="0" presId="urn:microsoft.com/office/officeart/2005/8/layout/gear1"/>
    <dgm:cxn modelId="{43869809-0D4F-4381-AD6C-FDD8C4167CBF}" type="presOf" srcId="{0A8003A2-0EBB-4AFA-983C-0ED81831997C}" destId="{FBC068CE-CED3-4AC0-94C4-C4636CA60752}" srcOrd="0" destOrd="0" presId="urn:microsoft.com/office/officeart/2005/8/layout/gear1"/>
    <dgm:cxn modelId="{ECD1B65D-BA9F-4DB3-AD14-736E96F4ABE7}" type="presOf" srcId="{29F80793-72E5-4DF7-91A8-0B87E58E5B0C}" destId="{1078469E-F0FE-4DE3-89DB-65DA23F53089}" srcOrd="2" destOrd="0" presId="urn:microsoft.com/office/officeart/2005/8/layout/gear1"/>
    <dgm:cxn modelId="{470AA080-58E3-47F4-93D9-7E1DA2E8D7DE}" type="presOf" srcId="{53CD3D03-D514-4CDD-9A68-564639611731}" destId="{FD79F651-EACF-442A-8289-AC88C3557A18}" srcOrd="0" destOrd="0" presId="urn:microsoft.com/office/officeart/2005/8/layout/gear1"/>
    <dgm:cxn modelId="{2FD2449E-2490-405A-9411-93B920A55A5F}" type="presOf" srcId="{29F80793-72E5-4DF7-91A8-0B87E58E5B0C}" destId="{B812FE42-DC2B-4804-8496-005CE33A132E}" srcOrd="0" destOrd="0" presId="urn:microsoft.com/office/officeart/2005/8/layout/gear1"/>
    <dgm:cxn modelId="{FA9491A4-C973-4836-905A-E45741DA9A11}" type="presOf" srcId="{AEC76871-3B5F-45AD-95AB-CBD6B65CD413}" destId="{51E867BA-E607-4FC5-B8B3-5DDEE42DE07D}" srcOrd="0" destOrd="0" presId="urn:microsoft.com/office/officeart/2005/8/layout/gear1"/>
    <dgm:cxn modelId="{5B9284AB-D3D9-46B4-85F1-3A6F61514AAD}" type="presOf" srcId="{53CD3D03-D514-4CDD-9A68-564639611731}" destId="{F84C58F5-BCD5-450D-B97E-318672F1CDD2}" srcOrd="3" destOrd="0" presId="urn:microsoft.com/office/officeart/2005/8/layout/gear1"/>
    <dgm:cxn modelId="{F3C417C4-2248-4DEA-BF45-D5E0331731C5}" srcId="{82E7DF95-DA61-4D66-B4E3-58ED551B8527}" destId="{29F80793-72E5-4DF7-91A8-0B87E58E5B0C}" srcOrd="0" destOrd="0" parTransId="{8BE8564C-AE11-4423-A460-79B99B23B232}" sibTransId="{0A8003A2-0EBB-4AFA-983C-0ED81831997C}"/>
    <dgm:cxn modelId="{7693629A-3787-4B2E-8850-86F0277946C3}" type="presOf" srcId="{53CD3D03-D514-4CDD-9A68-564639611731}" destId="{27FAF9CC-CE49-4EAD-85C3-9E016EF82619}" srcOrd="1" destOrd="0" presId="urn:microsoft.com/office/officeart/2005/8/layout/gear1"/>
    <dgm:cxn modelId="{86FA01C1-7FE4-4109-A141-1E497078067C}" type="presOf" srcId="{53CD3D03-D514-4CDD-9A68-564639611731}" destId="{0B1FDFA7-6B1E-43C7-914E-123E42CE175C}" srcOrd="2" destOrd="0" presId="urn:microsoft.com/office/officeart/2005/8/layout/gear1"/>
    <dgm:cxn modelId="{51027EF4-1CC9-4E1E-A543-E660E1F9B8DE}" type="presOf" srcId="{E101B3DF-0E5A-4E6A-B445-323E4ECDEC3D}" destId="{F365ED03-9BF4-4BB8-A7D3-381B251DCD91}" srcOrd="0" destOrd="0" presId="urn:microsoft.com/office/officeart/2005/8/layout/gear1"/>
    <dgm:cxn modelId="{A4FCCD43-DD94-486D-8EAD-3EF63CEFD843}" type="presOf" srcId="{E101B3DF-0E5A-4E6A-B445-323E4ECDEC3D}" destId="{3EE26A44-8A4F-4640-9991-135D4BD9B451}" srcOrd="1" destOrd="0" presId="urn:microsoft.com/office/officeart/2005/8/layout/gear1"/>
    <dgm:cxn modelId="{A3CFA4C9-EF2A-493A-BA51-4F48747AAA77}" srcId="{82E7DF95-DA61-4D66-B4E3-58ED551B8527}" destId="{53CD3D03-D514-4CDD-9A68-564639611731}" srcOrd="2" destOrd="0" parTransId="{C1F63713-58CB-475F-A419-7E1D17C8D21E}" sibTransId="{AEC76871-3B5F-45AD-95AB-CBD6B65CD413}"/>
    <dgm:cxn modelId="{98085080-99A6-4D1F-AC90-456B17AD09CB}" type="presParOf" srcId="{1DD34B97-87A0-4BB1-8298-0E0AEF8F6BE5}" destId="{B812FE42-DC2B-4804-8496-005CE33A132E}" srcOrd="0" destOrd="0" presId="urn:microsoft.com/office/officeart/2005/8/layout/gear1"/>
    <dgm:cxn modelId="{3207BDAE-6DA5-47C2-B82A-EA72B0F5BA61}" type="presParOf" srcId="{1DD34B97-87A0-4BB1-8298-0E0AEF8F6BE5}" destId="{19416EF6-0FF3-4B0E-8F15-A934D8ECEA09}" srcOrd="1" destOrd="0" presId="urn:microsoft.com/office/officeart/2005/8/layout/gear1"/>
    <dgm:cxn modelId="{92CAAA52-D25A-466D-B3F9-57DAC32636A7}" type="presParOf" srcId="{1DD34B97-87A0-4BB1-8298-0E0AEF8F6BE5}" destId="{1078469E-F0FE-4DE3-89DB-65DA23F53089}" srcOrd="2" destOrd="0" presId="urn:microsoft.com/office/officeart/2005/8/layout/gear1"/>
    <dgm:cxn modelId="{758B595D-AF3A-44CD-8987-6CEB730EEB10}" type="presParOf" srcId="{1DD34B97-87A0-4BB1-8298-0E0AEF8F6BE5}" destId="{F365ED03-9BF4-4BB8-A7D3-381B251DCD91}" srcOrd="3" destOrd="0" presId="urn:microsoft.com/office/officeart/2005/8/layout/gear1"/>
    <dgm:cxn modelId="{E33CEA63-7770-4DDA-8117-51E99CEB40B0}" type="presParOf" srcId="{1DD34B97-87A0-4BB1-8298-0E0AEF8F6BE5}" destId="{3EE26A44-8A4F-4640-9991-135D4BD9B451}" srcOrd="4" destOrd="0" presId="urn:microsoft.com/office/officeart/2005/8/layout/gear1"/>
    <dgm:cxn modelId="{38853784-933A-4B1A-8C65-346A8ED84CDD}" type="presParOf" srcId="{1DD34B97-87A0-4BB1-8298-0E0AEF8F6BE5}" destId="{4AD6AE96-5337-4983-8C06-CB5546AFCAD9}" srcOrd="5" destOrd="0" presId="urn:microsoft.com/office/officeart/2005/8/layout/gear1"/>
    <dgm:cxn modelId="{9A51BAB7-9402-4560-86FE-019AA67EB203}" type="presParOf" srcId="{1DD34B97-87A0-4BB1-8298-0E0AEF8F6BE5}" destId="{FD79F651-EACF-442A-8289-AC88C3557A18}" srcOrd="6" destOrd="0" presId="urn:microsoft.com/office/officeart/2005/8/layout/gear1"/>
    <dgm:cxn modelId="{CD137594-798F-4585-B484-42CC24979AEE}" type="presParOf" srcId="{1DD34B97-87A0-4BB1-8298-0E0AEF8F6BE5}" destId="{27FAF9CC-CE49-4EAD-85C3-9E016EF82619}" srcOrd="7" destOrd="0" presId="urn:microsoft.com/office/officeart/2005/8/layout/gear1"/>
    <dgm:cxn modelId="{7777E3EA-2E52-4115-836A-22D125D64966}" type="presParOf" srcId="{1DD34B97-87A0-4BB1-8298-0E0AEF8F6BE5}" destId="{0B1FDFA7-6B1E-43C7-914E-123E42CE175C}" srcOrd="8" destOrd="0" presId="urn:microsoft.com/office/officeart/2005/8/layout/gear1"/>
    <dgm:cxn modelId="{3325689F-1977-4646-9718-5B106D301137}" type="presParOf" srcId="{1DD34B97-87A0-4BB1-8298-0E0AEF8F6BE5}" destId="{F84C58F5-BCD5-450D-B97E-318672F1CDD2}" srcOrd="9" destOrd="0" presId="urn:microsoft.com/office/officeart/2005/8/layout/gear1"/>
    <dgm:cxn modelId="{7076BDA4-F7B7-418E-A990-57F927E8AD28}" type="presParOf" srcId="{1DD34B97-87A0-4BB1-8298-0E0AEF8F6BE5}" destId="{FBC068CE-CED3-4AC0-94C4-C4636CA60752}" srcOrd="10" destOrd="0" presId="urn:microsoft.com/office/officeart/2005/8/layout/gear1"/>
    <dgm:cxn modelId="{AD18619F-5FC1-4D3D-AB4D-64ADA28C94EF}" type="presParOf" srcId="{1DD34B97-87A0-4BB1-8298-0E0AEF8F6BE5}" destId="{2556FE84-10EB-4259-B46E-27BE2D2E469B}" srcOrd="11" destOrd="0" presId="urn:microsoft.com/office/officeart/2005/8/layout/gear1"/>
    <dgm:cxn modelId="{E7EF41BA-7915-4B55-B8F9-186A9245EB88}" type="presParOf" srcId="{1DD34B97-87A0-4BB1-8298-0E0AEF8F6BE5}" destId="{51E867BA-E607-4FC5-B8B3-5DDEE42DE07D}"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D851B9-145A-4746-A0A1-66E0FFF5D772}">
      <dsp:nvSpPr>
        <dsp:cNvPr id="0" name=""/>
        <dsp:cNvSpPr/>
      </dsp:nvSpPr>
      <dsp:spPr>
        <a:xfrm>
          <a:off x="80277" y="1110169"/>
          <a:ext cx="1201536" cy="395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endParaRPr lang="zh-CN" altLang="en-US" sz="2500" kern="1200" dirty="0"/>
        </a:p>
      </dsp:txBody>
      <dsp:txXfrm>
        <a:off x="80277" y="1110169"/>
        <a:ext cx="1201536" cy="395960"/>
      </dsp:txXfrm>
    </dsp:sp>
    <dsp:sp modelId="{A32839B2-F990-4860-B1B9-847F1B7A1723}">
      <dsp:nvSpPr>
        <dsp:cNvPr id="0" name=""/>
        <dsp:cNvSpPr/>
      </dsp:nvSpPr>
      <dsp:spPr>
        <a:xfrm>
          <a:off x="78911" y="989742"/>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7F7B2F-9C3A-433D-BAC1-EC0B2C5E9BC1}">
      <dsp:nvSpPr>
        <dsp:cNvPr id="0" name=""/>
        <dsp:cNvSpPr/>
      </dsp:nvSpPr>
      <dsp:spPr>
        <a:xfrm>
          <a:off x="145815" y="855935"/>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5F9496-FF3C-4173-8932-3EB5E7254A2A}">
      <dsp:nvSpPr>
        <dsp:cNvPr id="0" name=""/>
        <dsp:cNvSpPr/>
      </dsp:nvSpPr>
      <dsp:spPr>
        <a:xfrm>
          <a:off x="306384" y="882696"/>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9701EC-DCD4-4587-BB33-7D4BFEC8C494}">
      <dsp:nvSpPr>
        <dsp:cNvPr id="0" name=""/>
        <dsp:cNvSpPr/>
      </dsp:nvSpPr>
      <dsp:spPr>
        <a:xfrm>
          <a:off x="440192" y="735508"/>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D1FE81-31F3-4CD4-8E03-FD1EB3ACB7DB}">
      <dsp:nvSpPr>
        <dsp:cNvPr id="0" name=""/>
        <dsp:cNvSpPr/>
      </dsp:nvSpPr>
      <dsp:spPr>
        <a:xfrm>
          <a:off x="614141" y="681985"/>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B8823E-E8E4-4DC8-AECC-4618EBE3E93F}">
      <dsp:nvSpPr>
        <dsp:cNvPr id="0" name=""/>
        <dsp:cNvSpPr/>
      </dsp:nvSpPr>
      <dsp:spPr>
        <a:xfrm>
          <a:off x="828233" y="775650"/>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AC3FA8-D248-4889-A975-D3F7DD45EC5C}">
      <dsp:nvSpPr>
        <dsp:cNvPr id="0" name=""/>
        <dsp:cNvSpPr/>
      </dsp:nvSpPr>
      <dsp:spPr>
        <a:xfrm>
          <a:off x="962041" y="842554"/>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0C2F0-F4EC-488B-BF8A-CD79F7CA50EC}">
      <dsp:nvSpPr>
        <dsp:cNvPr id="0" name=""/>
        <dsp:cNvSpPr/>
      </dsp:nvSpPr>
      <dsp:spPr>
        <a:xfrm>
          <a:off x="1149371" y="989742"/>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E55428-9C4E-4EFB-A940-74D527AC5619}">
      <dsp:nvSpPr>
        <dsp:cNvPr id="0" name=""/>
        <dsp:cNvSpPr/>
      </dsp:nvSpPr>
      <dsp:spPr>
        <a:xfrm>
          <a:off x="1229655" y="1136930"/>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7BFE32-3529-4FFB-BC3E-B943A13F4440}">
      <dsp:nvSpPr>
        <dsp:cNvPr id="0" name=""/>
        <dsp:cNvSpPr/>
      </dsp:nvSpPr>
      <dsp:spPr>
        <a:xfrm>
          <a:off x="533857" y="855935"/>
          <a:ext cx="245768" cy="245768"/>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45F641-9262-4EB4-8523-048EB90C69EF}">
      <dsp:nvSpPr>
        <dsp:cNvPr id="0" name=""/>
        <dsp:cNvSpPr/>
      </dsp:nvSpPr>
      <dsp:spPr>
        <a:xfrm>
          <a:off x="12008" y="1364403"/>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D56B5E-3E7D-4229-B2A7-6677F682B236}">
      <dsp:nvSpPr>
        <dsp:cNvPr id="0" name=""/>
        <dsp:cNvSpPr/>
      </dsp:nvSpPr>
      <dsp:spPr>
        <a:xfrm>
          <a:off x="92292" y="1484830"/>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2E6F31-7730-4C5A-8EA8-268B592087AB}">
      <dsp:nvSpPr>
        <dsp:cNvPr id="0" name=""/>
        <dsp:cNvSpPr/>
      </dsp:nvSpPr>
      <dsp:spPr>
        <a:xfrm>
          <a:off x="293003" y="1591876"/>
          <a:ext cx="218461" cy="218461"/>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2EED2-E42F-45DC-A8D8-AFCB3DC2C193}">
      <dsp:nvSpPr>
        <dsp:cNvPr id="0" name=""/>
        <dsp:cNvSpPr/>
      </dsp:nvSpPr>
      <dsp:spPr>
        <a:xfrm>
          <a:off x="573999" y="1765825"/>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071298-CF38-405C-AF4C-862487B5E5D6}">
      <dsp:nvSpPr>
        <dsp:cNvPr id="0" name=""/>
        <dsp:cNvSpPr/>
      </dsp:nvSpPr>
      <dsp:spPr>
        <a:xfrm>
          <a:off x="627522" y="1591876"/>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BE89E9-9406-46AE-9087-7CDB06ED644D}">
      <dsp:nvSpPr>
        <dsp:cNvPr id="0" name=""/>
        <dsp:cNvSpPr/>
      </dsp:nvSpPr>
      <dsp:spPr>
        <a:xfrm>
          <a:off x="761329" y="1779206"/>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C47A35-B04C-4B63-83B8-A56A17ECAC27}">
      <dsp:nvSpPr>
        <dsp:cNvPr id="0" name=""/>
        <dsp:cNvSpPr/>
      </dsp:nvSpPr>
      <dsp:spPr>
        <a:xfrm>
          <a:off x="881756" y="1565114"/>
          <a:ext cx="218461" cy="218461"/>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3C0E6E-BB7E-4DEF-B43C-1420DF642B61}">
      <dsp:nvSpPr>
        <dsp:cNvPr id="0" name=""/>
        <dsp:cNvSpPr/>
      </dsp:nvSpPr>
      <dsp:spPr>
        <a:xfrm>
          <a:off x="1176132" y="1511591"/>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3C66E8-2730-4FDB-9EF2-603AD04F547D}">
      <dsp:nvSpPr>
        <dsp:cNvPr id="0" name=""/>
        <dsp:cNvSpPr/>
      </dsp:nvSpPr>
      <dsp:spPr>
        <a:xfrm>
          <a:off x="1326325" y="882474"/>
          <a:ext cx="441092" cy="842093"/>
        </a:xfrm>
        <a:prstGeom prst="chevron">
          <a:avLst>
            <a:gd name="adj" fmla="val 6231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77F107-8EE3-4673-A185-FDFDC419FD9E}">
      <dsp:nvSpPr>
        <dsp:cNvPr id="0" name=""/>
        <dsp:cNvSpPr/>
      </dsp:nvSpPr>
      <dsp:spPr>
        <a:xfrm>
          <a:off x="1687218" y="882474"/>
          <a:ext cx="441092" cy="842093"/>
        </a:xfrm>
        <a:prstGeom prst="chevron">
          <a:avLst>
            <a:gd name="adj" fmla="val 6231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AC59654-E9FA-4C9C-A956-09715168FB19}">
      <dsp:nvSpPr>
        <dsp:cNvPr id="0" name=""/>
        <dsp:cNvSpPr/>
      </dsp:nvSpPr>
      <dsp:spPr>
        <a:xfrm>
          <a:off x="2167555" y="839518"/>
          <a:ext cx="1022532" cy="102253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444750">
            <a:lnSpc>
              <a:spcPct val="90000"/>
            </a:lnSpc>
            <a:spcBef>
              <a:spcPct val="0"/>
            </a:spcBef>
            <a:spcAft>
              <a:spcPct val="35000"/>
            </a:spcAft>
          </a:pPr>
          <a:endParaRPr lang="zh-CN" altLang="en-US" sz="5500" kern="1200" dirty="0"/>
        </a:p>
      </dsp:txBody>
      <dsp:txXfrm>
        <a:off x="2317301" y="989264"/>
        <a:ext cx="723040" cy="72304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D851B9-145A-4746-A0A1-66E0FFF5D772}">
      <dsp:nvSpPr>
        <dsp:cNvPr id="0" name=""/>
        <dsp:cNvSpPr/>
      </dsp:nvSpPr>
      <dsp:spPr>
        <a:xfrm>
          <a:off x="80277" y="1110169"/>
          <a:ext cx="1201536" cy="395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endParaRPr lang="zh-CN" altLang="en-US" sz="2500" kern="1200" dirty="0"/>
        </a:p>
      </dsp:txBody>
      <dsp:txXfrm>
        <a:off x="80277" y="1110169"/>
        <a:ext cx="1201536" cy="395960"/>
      </dsp:txXfrm>
    </dsp:sp>
    <dsp:sp modelId="{A32839B2-F990-4860-B1B9-847F1B7A1723}">
      <dsp:nvSpPr>
        <dsp:cNvPr id="0" name=""/>
        <dsp:cNvSpPr/>
      </dsp:nvSpPr>
      <dsp:spPr>
        <a:xfrm>
          <a:off x="78911" y="989742"/>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7F7B2F-9C3A-433D-BAC1-EC0B2C5E9BC1}">
      <dsp:nvSpPr>
        <dsp:cNvPr id="0" name=""/>
        <dsp:cNvSpPr/>
      </dsp:nvSpPr>
      <dsp:spPr>
        <a:xfrm>
          <a:off x="145815" y="855935"/>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5F9496-FF3C-4173-8932-3EB5E7254A2A}">
      <dsp:nvSpPr>
        <dsp:cNvPr id="0" name=""/>
        <dsp:cNvSpPr/>
      </dsp:nvSpPr>
      <dsp:spPr>
        <a:xfrm>
          <a:off x="306384" y="882696"/>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9701EC-DCD4-4587-BB33-7D4BFEC8C494}">
      <dsp:nvSpPr>
        <dsp:cNvPr id="0" name=""/>
        <dsp:cNvSpPr/>
      </dsp:nvSpPr>
      <dsp:spPr>
        <a:xfrm>
          <a:off x="440192" y="735508"/>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D1FE81-31F3-4CD4-8E03-FD1EB3ACB7DB}">
      <dsp:nvSpPr>
        <dsp:cNvPr id="0" name=""/>
        <dsp:cNvSpPr/>
      </dsp:nvSpPr>
      <dsp:spPr>
        <a:xfrm>
          <a:off x="614141" y="681985"/>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B8823E-E8E4-4DC8-AECC-4618EBE3E93F}">
      <dsp:nvSpPr>
        <dsp:cNvPr id="0" name=""/>
        <dsp:cNvSpPr/>
      </dsp:nvSpPr>
      <dsp:spPr>
        <a:xfrm>
          <a:off x="828233" y="775650"/>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AC3FA8-D248-4889-A975-D3F7DD45EC5C}">
      <dsp:nvSpPr>
        <dsp:cNvPr id="0" name=""/>
        <dsp:cNvSpPr/>
      </dsp:nvSpPr>
      <dsp:spPr>
        <a:xfrm>
          <a:off x="962041" y="842554"/>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0C2F0-F4EC-488B-BF8A-CD79F7CA50EC}">
      <dsp:nvSpPr>
        <dsp:cNvPr id="0" name=""/>
        <dsp:cNvSpPr/>
      </dsp:nvSpPr>
      <dsp:spPr>
        <a:xfrm>
          <a:off x="1149371" y="989742"/>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E55428-9C4E-4EFB-A940-74D527AC5619}">
      <dsp:nvSpPr>
        <dsp:cNvPr id="0" name=""/>
        <dsp:cNvSpPr/>
      </dsp:nvSpPr>
      <dsp:spPr>
        <a:xfrm>
          <a:off x="1229655" y="1136930"/>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7BFE32-3529-4FFB-BC3E-B943A13F4440}">
      <dsp:nvSpPr>
        <dsp:cNvPr id="0" name=""/>
        <dsp:cNvSpPr/>
      </dsp:nvSpPr>
      <dsp:spPr>
        <a:xfrm>
          <a:off x="533857" y="855935"/>
          <a:ext cx="245768" cy="245768"/>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45F641-9262-4EB4-8523-048EB90C69EF}">
      <dsp:nvSpPr>
        <dsp:cNvPr id="0" name=""/>
        <dsp:cNvSpPr/>
      </dsp:nvSpPr>
      <dsp:spPr>
        <a:xfrm>
          <a:off x="12008" y="1364403"/>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D56B5E-3E7D-4229-B2A7-6677F682B236}">
      <dsp:nvSpPr>
        <dsp:cNvPr id="0" name=""/>
        <dsp:cNvSpPr/>
      </dsp:nvSpPr>
      <dsp:spPr>
        <a:xfrm>
          <a:off x="92292" y="1484830"/>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2E6F31-7730-4C5A-8EA8-268B592087AB}">
      <dsp:nvSpPr>
        <dsp:cNvPr id="0" name=""/>
        <dsp:cNvSpPr/>
      </dsp:nvSpPr>
      <dsp:spPr>
        <a:xfrm>
          <a:off x="293003" y="1591876"/>
          <a:ext cx="218461" cy="218461"/>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2EED2-E42F-45DC-A8D8-AFCB3DC2C193}">
      <dsp:nvSpPr>
        <dsp:cNvPr id="0" name=""/>
        <dsp:cNvSpPr/>
      </dsp:nvSpPr>
      <dsp:spPr>
        <a:xfrm>
          <a:off x="573999" y="1765825"/>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071298-CF38-405C-AF4C-862487B5E5D6}">
      <dsp:nvSpPr>
        <dsp:cNvPr id="0" name=""/>
        <dsp:cNvSpPr/>
      </dsp:nvSpPr>
      <dsp:spPr>
        <a:xfrm>
          <a:off x="627522" y="1591876"/>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BE89E9-9406-46AE-9087-7CDB06ED644D}">
      <dsp:nvSpPr>
        <dsp:cNvPr id="0" name=""/>
        <dsp:cNvSpPr/>
      </dsp:nvSpPr>
      <dsp:spPr>
        <a:xfrm>
          <a:off x="761329" y="1779206"/>
          <a:ext cx="95576" cy="9557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C47A35-B04C-4B63-83B8-A56A17ECAC27}">
      <dsp:nvSpPr>
        <dsp:cNvPr id="0" name=""/>
        <dsp:cNvSpPr/>
      </dsp:nvSpPr>
      <dsp:spPr>
        <a:xfrm>
          <a:off x="881756" y="1565114"/>
          <a:ext cx="218461" cy="218461"/>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3C0E6E-BB7E-4DEF-B43C-1420DF642B61}">
      <dsp:nvSpPr>
        <dsp:cNvPr id="0" name=""/>
        <dsp:cNvSpPr/>
      </dsp:nvSpPr>
      <dsp:spPr>
        <a:xfrm>
          <a:off x="1176132" y="1511591"/>
          <a:ext cx="150192" cy="15019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3C66E8-2730-4FDB-9EF2-603AD04F547D}">
      <dsp:nvSpPr>
        <dsp:cNvPr id="0" name=""/>
        <dsp:cNvSpPr/>
      </dsp:nvSpPr>
      <dsp:spPr>
        <a:xfrm>
          <a:off x="1326325" y="882474"/>
          <a:ext cx="441092" cy="842093"/>
        </a:xfrm>
        <a:prstGeom prst="chevron">
          <a:avLst>
            <a:gd name="adj" fmla="val 6231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77F107-8EE3-4673-A185-FDFDC419FD9E}">
      <dsp:nvSpPr>
        <dsp:cNvPr id="0" name=""/>
        <dsp:cNvSpPr/>
      </dsp:nvSpPr>
      <dsp:spPr>
        <a:xfrm>
          <a:off x="1687218" y="882474"/>
          <a:ext cx="441092" cy="842093"/>
        </a:xfrm>
        <a:prstGeom prst="chevron">
          <a:avLst>
            <a:gd name="adj" fmla="val 6231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AC59654-E9FA-4C9C-A956-09715168FB19}">
      <dsp:nvSpPr>
        <dsp:cNvPr id="0" name=""/>
        <dsp:cNvSpPr/>
      </dsp:nvSpPr>
      <dsp:spPr>
        <a:xfrm>
          <a:off x="2167555" y="839518"/>
          <a:ext cx="1022532" cy="102253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444750">
            <a:lnSpc>
              <a:spcPct val="90000"/>
            </a:lnSpc>
            <a:spcBef>
              <a:spcPct val="0"/>
            </a:spcBef>
            <a:spcAft>
              <a:spcPct val="35000"/>
            </a:spcAft>
          </a:pPr>
          <a:endParaRPr lang="zh-CN" altLang="en-US" sz="5500" kern="1200" dirty="0"/>
        </a:p>
      </dsp:txBody>
      <dsp:txXfrm>
        <a:off x="2317301" y="989264"/>
        <a:ext cx="723040" cy="72304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F38504-0760-462C-ADEE-F59CE3127E21}">
      <dsp:nvSpPr>
        <dsp:cNvPr id="0" name=""/>
        <dsp:cNvSpPr/>
      </dsp:nvSpPr>
      <dsp:spPr>
        <a:xfrm>
          <a:off x="579682" y="137044"/>
          <a:ext cx="1606509" cy="1606509"/>
        </a:xfrm>
        <a:prstGeom prst="ellipse">
          <a:avLst/>
        </a:prstGeom>
        <a:solidFill>
          <a:schemeClr val="accent2">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444750">
            <a:lnSpc>
              <a:spcPct val="90000"/>
            </a:lnSpc>
            <a:spcBef>
              <a:spcPct val="0"/>
            </a:spcBef>
            <a:spcAft>
              <a:spcPct val="35000"/>
            </a:spcAft>
          </a:pPr>
          <a:endParaRPr lang="zh-CN" altLang="en-US" sz="5500" kern="1200" dirty="0"/>
        </a:p>
      </dsp:txBody>
      <dsp:txXfrm>
        <a:off x="793883" y="418184"/>
        <a:ext cx="1178107" cy="722929"/>
      </dsp:txXfrm>
    </dsp:sp>
    <dsp:sp modelId="{25A89024-06A7-4419-AC09-03212F1AA91F}">
      <dsp:nvSpPr>
        <dsp:cNvPr id="0" name=""/>
        <dsp:cNvSpPr/>
      </dsp:nvSpPr>
      <dsp:spPr>
        <a:xfrm>
          <a:off x="1159364" y="1141113"/>
          <a:ext cx="1606509" cy="1606509"/>
        </a:xfrm>
        <a:prstGeom prst="ellipse">
          <a:avLst/>
        </a:prstGeom>
        <a:solidFill>
          <a:schemeClr val="accent2">
            <a:shade val="80000"/>
            <a:alpha val="50000"/>
            <a:hueOff val="58132"/>
            <a:satOff val="-3261"/>
            <a:lumOff val="135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zh-CN" altLang="en-US" sz="6500" kern="1200" dirty="0"/>
        </a:p>
      </dsp:txBody>
      <dsp:txXfrm>
        <a:off x="1650688" y="1556128"/>
        <a:ext cx="963905" cy="883580"/>
      </dsp:txXfrm>
    </dsp:sp>
    <dsp:sp modelId="{2DC65164-5F0A-439B-93DE-C57E525CEAFD}">
      <dsp:nvSpPr>
        <dsp:cNvPr id="0" name=""/>
        <dsp:cNvSpPr/>
      </dsp:nvSpPr>
      <dsp:spPr>
        <a:xfrm>
          <a:off x="0" y="1141113"/>
          <a:ext cx="1606509" cy="1606509"/>
        </a:xfrm>
        <a:prstGeom prst="ellipse">
          <a:avLst/>
        </a:prstGeom>
        <a:solidFill>
          <a:schemeClr val="accent2">
            <a:shade val="80000"/>
            <a:alpha val="50000"/>
            <a:hueOff val="116264"/>
            <a:satOff val="-6523"/>
            <a:lumOff val="270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zh-CN" altLang="en-US" sz="6500" kern="1200" dirty="0"/>
        </a:p>
      </dsp:txBody>
      <dsp:txXfrm>
        <a:off x="151279" y="1556128"/>
        <a:ext cx="963905" cy="88358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F38504-0760-462C-ADEE-F59CE3127E21}">
      <dsp:nvSpPr>
        <dsp:cNvPr id="0" name=""/>
        <dsp:cNvSpPr/>
      </dsp:nvSpPr>
      <dsp:spPr>
        <a:xfrm>
          <a:off x="579682" y="137044"/>
          <a:ext cx="1606509" cy="1606509"/>
        </a:xfrm>
        <a:prstGeom prst="ellipse">
          <a:avLst/>
        </a:prstGeom>
        <a:solidFill>
          <a:schemeClr val="accent2">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444750">
            <a:lnSpc>
              <a:spcPct val="90000"/>
            </a:lnSpc>
            <a:spcBef>
              <a:spcPct val="0"/>
            </a:spcBef>
            <a:spcAft>
              <a:spcPct val="35000"/>
            </a:spcAft>
          </a:pPr>
          <a:endParaRPr lang="zh-CN" altLang="en-US" sz="5500" kern="1200" dirty="0"/>
        </a:p>
      </dsp:txBody>
      <dsp:txXfrm>
        <a:off x="793883" y="418184"/>
        <a:ext cx="1178107" cy="722929"/>
      </dsp:txXfrm>
    </dsp:sp>
    <dsp:sp modelId="{25A89024-06A7-4419-AC09-03212F1AA91F}">
      <dsp:nvSpPr>
        <dsp:cNvPr id="0" name=""/>
        <dsp:cNvSpPr/>
      </dsp:nvSpPr>
      <dsp:spPr>
        <a:xfrm>
          <a:off x="1159364" y="1141113"/>
          <a:ext cx="1606509" cy="1606509"/>
        </a:xfrm>
        <a:prstGeom prst="ellipse">
          <a:avLst/>
        </a:prstGeom>
        <a:solidFill>
          <a:schemeClr val="accent2">
            <a:shade val="80000"/>
            <a:alpha val="50000"/>
            <a:hueOff val="58132"/>
            <a:satOff val="-3261"/>
            <a:lumOff val="135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zh-CN" altLang="en-US" sz="6500" kern="1200" dirty="0"/>
        </a:p>
      </dsp:txBody>
      <dsp:txXfrm>
        <a:off x="1650688" y="1556128"/>
        <a:ext cx="963905" cy="883580"/>
      </dsp:txXfrm>
    </dsp:sp>
    <dsp:sp modelId="{2DC65164-5F0A-439B-93DE-C57E525CEAFD}">
      <dsp:nvSpPr>
        <dsp:cNvPr id="0" name=""/>
        <dsp:cNvSpPr/>
      </dsp:nvSpPr>
      <dsp:spPr>
        <a:xfrm>
          <a:off x="0" y="1141113"/>
          <a:ext cx="1606509" cy="1606509"/>
        </a:xfrm>
        <a:prstGeom prst="ellipse">
          <a:avLst/>
        </a:prstGeom>
        <a:solidFill>
          <a:schemeClr val="accent2">
            <a:shade val="80000"/>
            <a:alpha val="50000"/>
            <a:hueOff val="116264"/>
            <a:satOff val="-6523"/>
            <a:lumOff val="270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zh-CN" altLang="en-US" sz="6500" kern="1200" dirty="0"/>
        </a:p>
      </dsp:txBody>
      <dsp:txXfrm>
        <a:off x="151279" y="1556128"/>
        <a:ext cx="963905" cy="8835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2FE42-DC2B-4804-8496-005CE33A132E}">
      <dsp:nvSpPr>
        <dsp:cNvPr id="0" name=""/>
        <dsp:cNvSpPr/>
      </dsp:nvSpPr>
      <dsp:spPr>
        <a:xfrm>
          <a:off x="1618399" y="1787555"/>
          <a:ext cx="1978043" cy="1978043"/>
        </a:xfrm>
        <a:prstGeom prst="gear9">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0" tIns="81280" rIns="81280" bIns="81280" numCol="1" spcCol="1270" anchor="ctr" anchorCtr="0">
          <a:noAutofit/>
        </a:bodyPr>
        <a:lstStyle/>
        <a:p>
          <a:pPr lvl="0" algn="ctr" defTabSz="2844800">
            <a:lnSpc>
              <a:spcPct val="90000"/>
            </a:lnSpc>
            <a:spcBef>
              <a:spcPct val="0"/>
            </a:spcBef>
            <a:spcAft>
              <a:spcPct val="35000"/>
            </a:spcAft>
          </a:pPr>
          <a:endParaRPr lang="zh-CN" altLang="en-US" sz="6400" kern="1200" dirty="0"/>
        </a:p>
      </dsp:txBody>
      <dsp:txXfrm>
        <a:off x="2016074" y="2250902"/>
        <a:ext cx="1182693" cy="1016755"/>
      </dsp:txXfrm>
    </dsp:sp>
    <dsp:sp modelId="{F365ED03-9BF4-4BB8-A7D3-381B251DCD91}">
      <dsp:nvSpPr>
        <dsp:cNvPr id="0" name=""/>
        <dsp:cNvSpPr/>
      </dsp:nvSpPr>
      <dsp:spPr>
        <a:xfrm>
          <a:off x="467537" y="1320017"/>
          <a:ext cx="1438577" cy="1438577"/>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zh-CN" altLang="en-US" sz="4500" kern="1200" dirty="0"/>
        </a:p>
      </dsp:txBody>
      <dsp:txXfrm>
        <a:off x="829703" y="1684372"/>
        <a:ext cx="714245" cy="709867"/>
      </dsp:txXfrm>
    </dsp:sp>
    <dsp:sp modelId="{FD79F651-EACF-442A-8289-AC88C3557A18}">
      <dsp:nvSpPr>
        <dsp:cNvPr id="0" name=""/>
        <dsp:cNvSpPr/>
      </dsp:nvSpPr>
      <dsp:spPr>
        <a:xfrm rot="20700000">
          <a:off x="1273287" y="327546"/>
          <a:ext cx="1409512" cy="140951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endParaRPr lang="zh-CN" altLang="en-US" sz="5000" kern="1200" dirty="0"/>
        </a:p>
      </dsp:txBody>
      <dsp:txXfrm rot="-20700000">
        <a:off x="1582434" y="636693"/>
        <a:ext cx="791217" cy="791217"/>
      </dsp:txXfrm>
    </dsp:sp>
    <dsp:sp modelId="{FBC068CE-CED3-4AC0-94C4-C4636CA60752}">
      <dsp:nvSpPr>
        <dsp:cNvPr id="0" name=""/>
        <dsp:cNvSpPr/>
      </dsp:nvSpPr>
      <dsp:spPr>
        <a:xfrm>
          <a:off x="1459848" y="1492724"/>
          <a:ext cx="2531895" cy="2531895"/>
        </a:xfrm>
        <a:prstGeom prst="circularArrow">
          <a:avLst>
            <a:gd name="adj1" fmla="val 4688"/>
            <a:gd name="adj2" fmla="val 299029"/>
            <a:gd name="adj3" fmla="val 2500126"/>
            <a:gd name="adj4" fmla="val 15896271"/>
            <a:gd name="adj5" fmla="val 5469"/>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2556FE84-10EB-4259-B46E-27BE2D2E469B}">
      <dsp:nvSpPr>
        <dsp:cNvPr id="0" name=""/>
        <dsp:cNvSpPr/>
      </dsp:nvSpPr>
      <dsp:spPr>
        <a:xfrm>
          <a:off x="212768" y="1004280"/>
          <a:ext cx="1839580" cy="1839580"/>
        </a:xfrm>
        <a:prstGeom prst="leftCircularArrow">
          <a:avLst>
            <a:gd name="adj1" fmla="val 6452"/>
            <a:gd name="adj2" fmla="val 429999"/>
            <a:gd name="adj3" fmla="val 10489124"/>
            <a:gd name="adj4" fmla="val 14837806"/>
            <a:gd name="adj5" fmla="val 7527"/>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1E867BA-E607-4FC5-B8B3-5DDEE42DE07D}">
      <dsp:nvSpPr>
        <dsp:cNvPr id="0" name=""/>
        <dsp:cNvSpPr/>
      </dsp:nvSpPr>
      <dsp:spPr>
        <a:xfrm>
          <a:off x="947252" y="21375"/>
          <a:ext cx="1983438" cy="1983438"/>
        </a:xfrm>
        <a:prstGeom prst="circularArrow">
          <a:avLst>
            <a:gd name="adj1" fmla="val 5984"/>
            <a:gd name="adj2" fmla="val 394124"/>
            <a:gd name="adj3" fmla="val 13313824"/>
            <a:gd name="adj4" fmla="val 10508221"/>
            <a:gd name="adj5" fmla="val 6981"/>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layout14.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C8F2E892-31C1-4D69-8BCA-1D72738E70E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CC37189-4DEB-4DCF-B5D1-C31DCB8AA9B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BCE8A09-F0BA-448F-AD18-C7BB108A62D8}" type="datetimeFigureOut">
              <a:rPr lang="zh-CN" altLang="en-US" smtClean="0"/>
              <a:t>2020/9/20</a:t>
            </a:fld>
            <a:endParaRPr lang="zh-CN" altLang="en-US"/>
          </a:p>
        </p:txBody>
      </p:sp>
      <p:sp>
        <p:nvSpPr>
          <p:cNvPr id="4" name="页脚占位符 3">
            <a:extLst>
              <a:ext uri="{FF2B5EF4-FFF2-40B4-BE49-F238E27FC236}">
                <a16:creationId xmlns:a16="http://schemas.microsoft.com/office/drawing/2014/main" id="{E0FF8A74-193D-492A-BECE-8A2243EC8F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70AFB2CE-3246-4816-9DBF-3347B7DBAE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21B1C70-9651-4455-B209-9DB5F3F4FE28}" type="slidenum">
              <a:rPr lang="zh-CN" altLang="en-US" smtClean="0"/>
              <a:t>‹#›</a:t>
            </a:fld>
            <a:endParaRPr lang="zh-CN" altLang="en-US"/>
          </a:p>
        </p:txBody>
      </p:sp>
    </p:spTree>
    <p:extLst>
      <p:ext uri="{BB962C8B-B14F-4D97-AF65-F5344CB8AC3E}">
        <p14:creationId xmlns:p14="http://schemas.microsoft.com/office/powerpoint/2010/main" val="28735211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9/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11532" name="矩形 11531">
            <a:extLst>
              <a:ext uri="{FF2B5EF4-FFF2-40B4-BE49-F238E27FC236}">
                <a16:creationId xmlns:a16="http://schemas.microsoft.com/office/drawing/2014/main" id="{91DC4CC3-96CB-4287-BBD2-D40EE2397B4A}"/>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1015999" y="3934825"/>
            <a:ext cx="5967965" cy="558799"/>
          </a:xfrm>
        </p:spPr>
        <p:txBody>
          <a:bodyPr anchor="t" anchorCtr="0">
            <a:normAutofit/>
          </a:bodyPr>
          <a:lstStyle>
            <a:lvl1pPr marL="0" indent="0" algn="l">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669925" y="1145770"/>
            <a:ext cx="6340475" cy="2534587"/>
          </a:xfrm>
        </p:spPr>
        <p:txBody>
          <a:bodyPr anchor="b" anchorCtr="0">
            <a:normAutofit/>
          </a:bodyPr>
          <a:lstStyle>
            <a:lvl1pPr algn="l">
              <a:defRPr sz="4000">
                <a:solidFill>
                  <a:schemeClr val="bg2">
                    <a:lumMod val="25000"/>
                  </a:schemeClr>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69925" y="5091706"/>
            <a:ext cx="6340475" cy="296271"/>
          </a:xfrm>
        </p:spPr>
        <p:txBody>
          <a:bodyPr vert="horz" anchor="ctr">
            <a:noAutofit/>
          </a:bodyPr>
          <a:lstStyle>
            <a:lvl1pPr marL="0" indent="0" algn="l">
              <a:buNone/>
              <a:defRPr sz="1500" b="0">
                <a:solidFill>
                  <a:schemeClr val="bg2">
                    <a:lumMod val="75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387977"/>
            <a:ext cx="6340475" cy="296271"/>
          </a:xfrm>
        </p:spPr>
        <p:txBody>
          <a:bodyPr vert="horz" anchor="ctr">
            <a:noAutofit/>
          </a:bodyPr>
          <a:lstStyle>
            <a:lvl1pPr marL="0" indent="0" algn="l">
              <a:buNone/>
              <a:defRPr sz="1500" b="0">
                <a:solidFill>
                  <a:schemeClr val="bg2">
                    <a:lumMod val="75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346" name="矩形 345">
            <a:extLst>
              <a:ext uri="{FF2B5EF4-FFF2-40B4-BE49-F238E27FC236}">
                <a16:creationId xmlns:a16="http://schemas.microsoft.com/office/drawing/2014/main" id="{DB4D062F-871F-4045-A2DE-2975DAC0E108}"/>
              </a:ext>
            </a:extLst>
          </p:cNvPr>
          <p:cNvSpPr/>
          <p:nvPr userDrawn="1"/>
        </p:nvSpPr>
        <p:spPr>
          <a:xfrm>
            <a:off x="3657600" y="0"/>
            <a:ext cx="8534400" cy="6866302"/>
          </a:xfrm>
          <a:prstGeom prst="rect">
            <a:avLst/>
          </a:prstGeom>
          <a:blipFill>
            <a:blip r:embed="rId2"/>
            <a:srcRect/>
            <a:stretch>
              <a:fillRect l="-11226" r="-3180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1767986" y="3258056"/>
            <a:ext cx="4326897"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1769102" y="4153406"/>
            <a:ext cx="4326897"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9/20</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9/20</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348" name="矩形 347">
            <a:extLst>
              <a:ext uri="{FF2B5EF4-FFF2-40B4-BE49-F238E27FC236}">
                <a16:creationId xmlns:a16="http://schemas.microsoft.com/office/drawing/2014/main" id="{01DEDE8B-C7DA-40AF-8582-74D3D575E1B2}"/>
              </a:ext>
            </a:extLst>
          </p:cNvPr>
          <p:cNvSpPr/>
          <p:nvPr userDrawn="1"/>
        </p:nvSpPr>
        <p:spPr>
          <a:xfrm flipH="1" flipV="1">
            <a:off x="0" y="0"/>
            <a:ext cx="12192000" cy="6857999"/>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6328229" y="1318986"/>
            <a:ext cx="5192258" cy="2657402"/>
          </a:xfr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328229" y="4802751"/>
            <a:ext cx="5192258" cy="310871"/>
          </a:xfrm>
        </p:spPr>
        <p:txBody>
          <a:bodyPr vert="horz" lIns="91440" tIns="45720" rIns="91440" bIns="45720" rtlCol="0">
            <a:normAutofit/>
          </a:bodyPr>
          <a:lstStyle>
            <a:lvl1pPr marL="0" indent="0" algn="ct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328231" y="4506480"/>
            <a:ext cx="5192258" cy="296271"/>
          </a:xfrm>
        </p:spPr>
        <p:txBody>
          <a:bodyPr vert="horz" anchor="ctr">
            <a:noAutofit/>
          </a:bodyPr>
          <a:lstStyle>
            <a:lvl1pPr marL="0" indent="0" algn="ct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9/20</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NULL" TargetMode="Externa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22.png"/><Relationship Id="rId4" Type="http://schemas.openxmlformats.org/officeDocument/2006/relationships/image" Target="../media/image21.jpe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25.jpeg"/><Relationship Id="rId4" Type="http://schemas.openxmlformats.org/officeDocument/2006/relationships/image" Target="../media/image24.jpe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NULL" TargetMode="External"/><Relationship Id="rId5" Type="http://schemas.openxmlformats.org/officeDocument/2006/relationships/image" Target="../media/image35.jpe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e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42.png"/><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themeOverride" Target="../theme/themeOverride5.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6.xml"/><Relationship Id="rId4"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themeOverride" Target="../theme/themeOverride7.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themeOverride" Target="../theme/themeOverride8.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9.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0.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5.xml"/><Relationship Id="rId1" Type="http://schemas.openxmlformats.org/officeDocument/2006/relationships/tags" Target="../tags/tag31.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2.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3.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slideLayout" Target="../slideLayouts/slideLayout5.xml"/><Relationship Id="rId1" Type="http://schemas.openxmlformats.org/officeDocument/2006/relationships/tags" Target="../tags/tag3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slideLayout" Target="../slideLayouts/slideLayout5.xml"/><Relationship Id="rId1" Type="http://schemas.openxmlformats.org/officeDocument/2006/relationships/tags" Target="../tags/tag3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5.xml"/><Relationship Id="rId1" Type="http://schemas.openxmlformats.org/officeDocument/2006/relationships/tags" Target="../tags/tag3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slideLayout" Target="../slideLayouts/slideLayout5.xml"/><Relationship Id="rId1" Type="http://schemas.openxmlformats.org/officeDocument/2006/relationships/tags" Target="../tags/tag4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 Id="rId9" Type="http://schemas.openxmlformats.org/officeDocument/2006/relationships/image" Target="../media/image49.png"/></Relationships>
</file>

<file path=ppt/slides/_rels/slide3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slideLayout" Target="../slideLayouts/slideLayout5.xml"/><Relationship Id="rId1" Type="http://schemas.openxmlformats.org/officeDocument/2006/relationships/tags" Target="../tags/tag4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slideLayout" Target="../slideLayouts/slideLayout5.xml"/><Relationship Id="rId1" Type="http://schemas.openxmlformats.org/officeDocument/2006/relationships/tags" Target="../tags/tag4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4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slideLayout" Target="../slideLayouts/slideLayout5.xml"/><Relationship Id="rId1" Type="http://schemas.openxmlformats.org/officeDocument/2006/relationships/tags" Target="../tags/tag47.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slideLayout" Target="../slideLayouts/slideLayout5.xml"/><Relationship Id="rId1" Type="http://schemas.openxmlformats.org/officeDocument/2006/relationships/tags" Target="../tags/tag4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4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slideLayout" Target="../slideLayouts/slideLayout5.xml"/><Relationship Id="rId1" Type="http://schemas.openxmlformats.org/officeDocument/2006/relationships/tags" Target="../tags/tag49.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1.xml"/><Relationship Id="rId1" Type="http://schemas.openxmlformats.org/officeDocument/2006/relationships/tags" Target="../tags/tag50.xml"/></Relationships>
</file>

<file path=ppt/slides/_rels/slide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57.PNG"/></Relationships>
</file>

<file path=ppt/slides/_rels/slide48.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slideLayout" Target="../slideLayouts/slideLayout4.xml"/><Relationship Id="rId1" Type="http://schemas.openxmlformats.org/officeDocument/2006/relationships/tags" Target="../tags/tag53.xml"/><Relationship Id="rId5" Type="http://schemas.openxmlformats.org/officeDocument/2006/relationships/image" Target="../media/image60.jpg"/><Relationship Id="rId4" Type="http://schemas.openxmlformats.org/officeDocument/2006/relationships/image" Target="../media/image59.jpg"/></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4.xml"/><Relationship Id="rId1" Type="http://schemas.openxmlformats.org/officeDocument/2006/relationships/tags" Target="../tags/tag55.xml"/><Relationship Id="rId4" Type="http://schemas.openxmlformats.org/officeDocument/2006/relationships/image" Target="../media/image62.png"/></Relationships>
</file>

<file path=ppt/slides/_rels/slide5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4.xml"/><Relationship Id="rId1" Type="http://schemas.openxmlformats.org/officeDocument/2006/relationships/tags" Target="../tags/tag56.xml"/></Relationships>
</file>

<file path=ppt/slides/_rels/slide5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57.xml"/><Relationship Id="rId4" Type="http://schemas.openxmlformats.org/officeDocument/2006/relationships/image" Target="../media/image65.png"/></Relationships>
</file>

<file path=ppt/slides/_rels/slide5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4.xml"/><Relationship Id="rId1" Type="http://schemas.openxmlformats.org/officeDocument/2006/relationships/tags" Target="../tags/tag58.xml"/></Relationships>
</file>

<file path=ppt/slides/_rels/slide5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jpg"/><Relationship Id="rId7" Type="http://schemas.openxmlformats.org/officeDocument/2006/relationships/image" Target="../media/image71.PNG"/><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70.PNG"/><Relationship Id="rId5" Type="http://schemas.openxmlformats.org/officeDocument/2006/relationships/image" Target="../media/image69.jpg"/><Relationship Id="rId4" Type="http://schemas.openxmlformats.org/officeDocument/2006/relationships/image" Target="../media/image68.jpg"/></Relationships>
</file>

<file path=ppt/slides/_rels/slide5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4.xml"/><Relationship Id="rId1" Type="http://schemas.openxmlformats.org/officeDocument/2006/relationships/tags" Target="../tags/tag60.xml"/><Relationship Id="rId4" Type="http://schemas.openxmlformats.org/officeDocument/2006/relationships/image" Target="../media/image74.PNG"/></Relationships>
</file>

<file path=ppt/slides/_rels/slide5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61.xml"/><Relationship Id="rId4" Type="http://schemas.openxmlformats.org/officeDocument/2006/relationships/image" Target="../media/image76.PNG"/></Relationships>
</file>

<file path=ppt/slides/_rels/slide5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62.xml"/><Relationship Id="rId4" Type="http://schemas.openxmlformats.org/officeDocument/2006/relationships/image" Target="../media/image78.PNG"/></Relationships>
</file>

<file path=ppt/slides/_rels/slide58.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vmlDrawing" Target="../drawings/vmlDrawing2.vml"/><Relationship Id="rId1" Type="http://schemas.openxmlformats.org/officeDocument/2006/relationships/themeOverride" Target="../theme/themeOverride9.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4"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p:txBody>
          <a:bodyPr/>
          <a:lstStyle/>
          <a:p>
            <a:r>
              <a:rPr lang="zh-CN" altLang="en-US" sz="2800" b="0" dirty="0"/>
              <a:t>数据库课程设计</a:t>
            </a:r>
            <a:r>
              <a:rPr lang="en-US" altLang="zh-CN" dirty="0"/>
              <a:t/>
            </a:r>
            <a:br>
              <a:rPr lang="en-US" altLang="zh-CN" dirty="0"/>
            </a:br>
            <a:r>
              <a:rPr lang="en-US" altLang="zh-CN" sz="5400" dirty="0">
                <a:gradFill>
                  <a:gsLst>
                    <a:gs pos="100000">
                      <a:schemeClr val="accent4"/>
                    </a:gs>
                    <a:gs pos="0">
                      <a:schemeClr val="accent1"/>
                    </a:gs>
                  </a:gsLst>
                  <a:lin ang="0" scaled="1"/>
                </a:gradFill>
              </a:rPr>
              <a:t>Pic Community</a:t>
            </a:r>
            <a:r>
              <a:rPr lang="en-US" altLang="zh-CN" dirty="0"/>
              <a:t/>
            </a:r>
            <a:br>
              <a:rPr lang="en-US" altLang="zh-CN" dirty="0"/>
            </a:br>
            <a:r>
              <a:rPr lang="en-US" altLang="zh-CN" sz="2800" dirty="0"/>
              <a:t>——with Deep Learning</a:t>
            </a:r>
            <a:endParaRPr lang="zh-CN" altLang="en-US" dirty="0"/>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钱包充值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5" name="图片 1"/>
          <p:cNvPicPr>
            <a:picLocks noChangeAspect="1"/>
          </p:cNvPicPr>
          <p:nvPr/>
        </p:nvPicPr>
        <p:blipFill>
          <a:blip r:embed="rId3"/>
          <a:stretch>
            <a:fillRect/>
          </a:stretch>
        </p:blipFill>
        <p:spPr>
          <a:xfrm>
            <a:off x="0" y="1028700"/>
            <a:ext cx="5204460" cy="3881755"/>
          </a:xfrm>
          <a:prstGeom prst="rect">
            <a:avLst/>
          </a:prstGeom>
          <a:noFill/>
          <a:ln w="9525">
            <a:noFill/>
          </a:ln>
        </p:spPr>
      </p:pic>
      <p:pic>
        <p:nvPicPr>
          <p:cNvPr id="6" name="图片 -2147482372" descr="C:\Users\AERO\Documents\Tencent Files\345268049\Image\Group2\7L\FK\7LFK2QVZ83L2$B{(DVFG0}F.jpg"/>
          <p:cNvPicPr>
            <a:picLocks noChangeAspect="1"/>
          </p:cNvPicPr>
          <p:nvPr/>
        </p:nvPicPr>
        <p:blipFill>
          <a:blip r:embed="rId4" r:link="rId5"/>
          <a:stretch>
            <a:fillRect/>
          </a:stretch>
        </p:blipFill>
        <p:spPr>
          <a:xfrm>
            <a:off x="6744970" y="1028383"/>
            <a:ext cx="5003800" cy="4537075"/>
          </a:xfrm>
          <a:prstGeom prst="rect">
            <a:avLst/>
          </a:prstGeom>
          <a:noFill/>
          <a:ln w="9525">
            <a:noFill/>
          </a:ln>
        </p:spPr>
      </p:pic>
      <p:sp>
        <p:nvSpPr>
          <p:cNvPr id="3" name="文本框 2"/>
          <p:cNvSpPr txBox="1"/>
          <p:nvPr/>
        </p:nvSpPr>
        <p:spPr>
          <a:xfrm>
            <a:off x="372745" y="5053965"/>
            <a:ext cx="5499100" cy="645160"/>
          </a:xfrm>
          <a:prstGeom prst="rect">
            <a:avLst/>
          </a:prstGeom>
          <a:noFill/>
        </p:spPr>
        <p:txBody>
          <a:bodyPr wrap="square" rtlCol="0" anchor="t">
            <a:spAutoFit/>
          </a:bodyPr>
          <a:lstStyle/>
          <a:p>
            <a:r>
              <a:rPr lang="zh-CN" altLang="en-US"/>
              <a:t>用户在登录状态下进入钱包页面，显示用户充值记录和消费记录。</a:t>
            </a:r>
          </a:p>
        </p:txBody>
      </p:sp>
    </p:spTree>
    <p:custDataLst>
      <p:tags r:id="rId1"/>
    </p:custDataLst>
    <p:extLst>
      <p:ext uri="{BB962C8B-B14F-4D97-AF65-F5344CB8AC3E}">
        <p14:creationId xmlns:p14="http://schemas.microsoft.com/office/powerpoint/2010/main" val="17631476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图片上传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5" name="图片 1"/>
          <p:cNvPicPr>
            <a:picLocks noChangeAspect="1"/>
          </p:cNvPicPr>
          <p:nvPr/>
        </p:nvPicPr>
        <p:blipFill>
          <a:blip r:embed="rId3"/>
          <a:stretch>
            <a:fillRect/>
          </a:stretch>
        </p:blipFill>
        <p:spPr>
          <a:xfrm>
            <a:off x="0" y="1028700"/>
            <a:ext cx="5321935" cy="3911600"/>
          </a:xfrm>
          <a:prstGeom prst="rect">
            <a:avLst/>
          </a:prstGeom>
          <a:noFill/>
          <a:ln w="9525">
            <a:noFill/>
          </a:ln>
        </p:spPr>
      </p:pic>
      <p:pic>
        <p:nvPicPr>
          <p:cNvPr id="6" name="图片 -2147482603" descr="ebd7cfae19bc89727710d3c001ac022"/>
          <p:cNvPicPr>
            <a:picLocks noChangeAspect="1"/>
          </p:cNvPicPr>
          <p:nvPr/>
        </p:nvPicPr>
        <p:blipFill>
          <a:blip r:embed="rId4"/>
          <a:stretch>
            <a:fillRect/>
          </a:stretch>
        </p:blipFill>
        <p:spPr>
          <a:xfrm>
            <a:off x="5476240" y="1028383"/>
            <a:ext cx="3134360" cy="3448685"/>
          </a:xfrm>
          <a:prstGeom prst="rect">
            <a:avLst/>
          </a:prstGeom>
          <a:noFill/>
          <a:ln w="9525">
            <a:noFill/>
          </a:ln>
        </p:spPr>
      </p:pic>
      <p:pic>
        <p:nvPicPr>
          <p:cNvPr id="7" name="图片 -2147482597" descr="ae338741bb311e24239bbcb29e97b77"/>
          <p:cNvPicPr>
            <a:picLocks noChangeAspect="1"/>
          </p:cNvPicPr>
          <p:nvPr/>
        </p:nvPicPr>
        <p:blipFill>
          <a:blip r:embed="rId5"/>
          <a:stretch>
            <a:fillRect/>
          </a:stretch>
        </p:blipFill>
        <p:spPr>
          <a:xfrm>
            <a:off x="8829358" y="1028383"/>
            <a:ext cx="3166745" cy="3881755"/>
          </a:xfrm>
          <a:prstGeom prst="rect">
            <a:avLst/>
          </a:prstGeom>
          <a:noFill/>
          <a:ln w="9525">
            <a:noFill/>
          </a:ln>
        </p:spPr>
      </p:pic>
      <p:sp>
        <p:nvSpPr>
          <p:cNvPr id="3" name="文本框 2"/>
          <p:cNvSpPr txBox="1"/>
          <p:nvPr/>
        </p:nvSpPr>
        <p:spPr>
          <a:xfrm>
            <a:off x="266700" y="5220970"/>
            <a:ext cx="11582400" cy="922020"/>
          </a:xfrm>
          <a:prstGeom prst="rect">
            <a:avLst/>
          </a:prstGeom>
          <a:noFill/>
        </p:spPr>
        <p:txBody>
          <a:bodyPr wrap="square" rtlCol="0" anchor="t">
            <a:spAutoFit/>
          </a:bodyPr>
          <a:lstStyle/>
          <a:p>
            <a:r>
              <a:rPr lang="zh-CN" altLang="en-US"/>
              <a:t>用户点击上传图片，选择本地图片，图片会上传到服务器。服务器接收图片系统AI对图片进行分析，返回给用户十个推荐tag。用户对tag进行选择，定价，并且勾选两条协议内容。全部符合条件后页面会将图片上传到图库，将tag上传到服务器。</a:t>
            </a:r>
          </a:p>
        </p:txBody>
      </p:sp>
    </p:spTree>
    <p:custDataLst>
      <p:tags r:id="rId1"/>
    </p:custDataLst>
    <p:extLst>
      <p:ext uri="{BB962C8B-B14F-4D97-AF65-F5344CB8AC3E}">
        <p14:creationId xmlns:p14="http://schemas.microsoft.com/office/powerpoint/2010/main" val="14824396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图片购买</a:t>
            </a:r>
            <a:r>
              <a:rPr lang="en-US" altLang="zh-CN" smtClean="0"/>
              <a:t>&amp;</a:t>
            </a:r>
            <a:r>
              <a:rPr lang="zh-CN" altLang="en-US" smtClean="0"/>
              <a:t>下载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5" name="图片 1"/>
          <p:cNvPicPr>
            <a:picLocks noChangeAspect="1"/>
          </p:cNvPicPr>
          <p:nvPr/>
        </p:nvPicPr>
        <p:blipFill>
          <a:blip r:embed="rId3"/>
          <a:stretch>
            <a:fillRect/>
          </a:stretch>
        </p:blipFill>
        <p:spPr>
          <a:xfrm>
            <a:off x="0" y="1028700"/>
            <a:ext cx="4840605" cy="3700145"/>
          </a:xfrm>
          <a:prstGeom prst="rect">
            <a:avLst/>
          </a:prstGeom>
          <a:noFill/>
          <a:ln w="9525">
            <a:noFill/>
          </a:ln>
        </p:spPr>
      </p:pic>
      <p:pic>
        <p:nvPicPr>
          <p:cNvPr id="6" name="图片 -2147482577" descr="36B_8WGAJT]WP8[2ND1RA`R"/>
          <p:cNvPicPr>
            <a:picLocks noChangeAspect="1"/>
          </p:cNvPicPr>
          <p:nvPr/>
        </p:nvPicPr>
        <p:blipFill>
          <a:blip r:embed="rId4"/>
          <a:stretch>
            <a:fillRect/>
          </a:stretch>
        </p:blipFill>
        <p:spPr>
          <a:xfrm>
            <a:off x="5587365" y="1028383"/>
            <a:ext cx="5933440" cy="2734945"/>
          </a:xfrm>
          <a:prstGeom prst="rect">
            <a:avLst/>
          </a:prstGeom>
          <a:noFill/>
          <a:ln w="9525">
            <a:noFill/>
          </a:ln>
        </p:spPr>
      </p:pic>
      <p:pic>
        <p:nvPicPr>
          <p:cNvPr id="7" name="图片 1"/>
          <p:cNvPicPr>
            <a:picLocks noChangeAspect="1"/>
          </p:cNvPicPr>
          <p:nvPr/>
        </p:nvPicPr>
        <p:blipFill>
          <a:blip r:embed="rId5"/>
          <a:stretch>
            <a:fillRect/>
          </a:stretch>
        </p:blipFill>
        <p:spPr>
          <a:xfrm>
            <a:off x="5586730" y="4064000"/>
            <a:ext cx="5934075" cy="2559050"/>
          </a:xfrm>
          <a:prstGeom prst="rect">
            <a:avLst/>
          </a:prstGeom>
          <a:noFill/>
          <a:ln w="9525">
            <a:noFill/>
          </a:ln>
        </p:spPr>
      </p:pic>
      <p:sp>
        <p:nvSpPr>
          <p:cNvPr id="3" name="文本框 2"/>
          <p:cNvSpPr txBox="1"/>
          <p:nvPr/>
        </p:nvSpPr>
        <p:spPr>
          <a:xfrm>
            <a:off x="177800" y="5145405"/>
            <a:ext cx="5094605" cy="1568450"/>
          </a:xfrm>
          <a:prstGeom prst="rect">
            <a:avLst/>
          </a:prstGeom>
          <a:noFill/>
        </p:spPr>
        <p:txBody>
          <a:bodyPr wrap="square" rtlCol="0" anchor="t">
            <a:spAutoFit/>
          </a:bodyPr>
          <a:lstStyle/>
          <a:p>
            <a:r>
              <a:rPr lang="zh-CN" altLang="en-US" sz="1600"/>
              <a:t>图片下载功能给用户提供了下载展示图片的功能：点击下载确认后，如果是本人上传图片则直接跳转至下载图片url界面进行下载，如果非本人上传图片则从钱包扣取相应硬币购买图片，购买成功后可跳转至图片下载源url；购买失败返回硬币不足信息。如果用户已经购买过该图片，则跳过购买界面。</a:t>
            </a:r>
          </a:p>
        </p:txBody>
      </p:sp>
    </p:spTree>
    <p:custDataLst>
      <p:tags r:id="rId1"/>
    </p:custDataLst>
    <p:extLst>
      <p:ext uri="{BB962C8B-B14F-4D97-AF65-F5344CB8AC3E}">
        <p14:creationId xmlns:p14="http://schemas.microsoft.com/office/powerpoint/2010/main" val="6483858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评论图片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3</a:t>
            </a:fld>
            <a:endParaRPr lang="zh-CN" altLang="en-US"/>
          </a:p>
        </p:txBody>
      </p:sp>
      <p:pic>
        <p:nvPicPr>
          <p:cNvPr id="5" name="图片 1"/>
          <p:cNvPicPr>
            <a:picLocks noChangeAspect="1"/>
          </p:cNvPicPr>
          <p:nvPr/>
        </p:nvPicPr>
        <p:blipFill>
          <a:blip r:embed="rId3"/>
          <a:stretch>
            <a:fillRect/>
          </a:stretch>
        </p:blipFill>
        <p:spPr>
          <a:xfrm>
            <a:off x="0" y="1028700"/>
            <a:ext cx="5539740" cy="3649980"/>
          </a:xfrm>
          <a:prstGeom prst="rect">
            <a:avLst/>
          </a:prstGeom>
          <a:noFill/>
          <a:ln w="9525">
            <a:noFill/>
          </a:ln>
        </p:spPr>
      </p:pic>
      <p:pic>
        <p:nvPicPr>
          <p:cNvPr id="6" name="图片 -2147482541" descr="S%[`S(@BA5C3_3SH]BC6WUD"/>
          <p:cNvPicPr>
            <a:picLocks noChangeAspect="1"/>
          </p:cNvPicPr>
          <p:nvPr/>
        </p:nvPicPr>
        <p:blipFill>
          <a:blip r:embed="rId4"/>
          <a:stretch>
            <a:fillRect/>
          </a:stretch>
        </p:blipFill>
        <p:spPr>
          <a:xfrm>
            <a:off x="6251893" y="1028383"/>
            <a:ext cx="5426075" cy="2699385"/>
          </a:xfrm>
          <a:prstGeom prst="rect">
            <a:avLst/>
          </a:prstGeom>
          <a:noFill/>
          <a:ln w="9525">
            <a:noFill/>
          </a:ln>
        </p:spPr>
      </p:pic>
      <p:pic>
        <p:nvPicPr>
          <p:cNvPr id="7" name="图片 -2147482535" descr="@WI[CWMN[]WI0JA)T72E39S"/>
          <p:cNvPicPr>
            <a:picLocks noChangeAspect="1"/>
          </p:cNvPicPr>
          <p:nvPr/>
        </p:nvPicPr>
        <p:blipFill>
          <a:blip r:embed="rId5"/>
          <a:stretch>
            <a:fillRect/>
          </a:stretch>
        </p:blipFill>
        <p:spPr>
          <a:xfrm>
            <a:off x="6252210" y="3977005"/>
            <a:ext cx="5363210" cy="2880995"/>
          </a:xfrm>
          <a:prstGeom prst="rect">
            <a:avLst/>
          </a:prstGeom>
          <a:noFill/>
          <a:ln w="9525">
            <a:noFill/>
          </a:ln>
        </p:spPr>
      </p:pic>
      <p:sp>
        <p:nvSpPr>
          <p:cNvPr id="3" name="文本框 2"/>
          <p:cNvSpPr txBox="1"/>
          <p:nvPr/>
        </p:nvSpPr>
        <p:spPr>
          <a:xfrm>
            <a:off x="669925" y="5041900"/>
            <a:ext cx="4749800" cy="1198880"/>
          </a:xfrm>
          <a:prstGeom prst="rect">
            <a:avLst/>
          </a:prstGeom>
          <a:noFill/>
        </p:spPr>
        <p:txBody>
          <a:bodyPr wrap="square" rtlCol="0" anchor="t">
            <a:spAutoFit/>
          </a:bodyPr>
          <a:lstStyle/>
          <a:p>
            <a:r>
              <a:rPr lang="zh-CN" altLang="en-US"/>
              <a:t>用户在评论区域输入评论内容，点击提交。如果未对该图片评论过，则发布新的评论。</a:t>
            </a:r>
          </a:p>
          <a:p>
            <a:r>
              <a:rPr lang="zh-CN" altLang="en-US"/>
              <a:t>如果已存在评论，则覆盖旧评论，显示新评论。</a:t>
            </a:r>
          </a:p>
        </p:txBody>
      </p:sp>
    </p:spTree>
    <p:custDataLst>
      <p:tags r:id="rId1"/>
    </p:custDataLst>
    <p:extLst>
      <p:ext uri="{BB962C8B-B14F-4D97-AF65-F5344CB8AC3E}">
        <p14:creationId xmlns:p14="http://schemas.microsoft.com/office/powerpoint/2010/main" val="16891344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图片收藏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4</a:t>
            </a:fld>
            <a:endParaRPr lang="zh-CN" altLang="en-US"/>
          </a:p>
        </p:txBody>
      </p:sp>
      <p:pic>
        <p:nvPicPr>
          <p:cNvPr id="5" name="图片 1"/>
          <p:cNvPicPr>
            <a:picLocks noChangeAspect="1"/>
          </p:cNvPicPr>
          <p:nvPr/>
        </p:nvPicPr>
        <p:blipFill>
          <a:blip r:embed="rId3"/>
          <a:stretch>
            <a:fillRect/>
          </a:stretch>
        </p:blipFill>
        <p:spPr>
          <a:xfrm>
            <a:off x="5816600" y="1028700"/>
            <a:ext cx="6375400" cy="3891915"/>
          </a:xfrm>
          <a:prstGeom prst="rect">
            <a:avLst/>
          </a:prstGeom>
          <a:noFill/>
          <a:ln w="9525">
            <a:noFill/>
          </a:ln>
        </p:spPr>
      </p:pic>
      <p:pic>
        <p:nvPicPr>
          <p:cNvPr id="6" name="图片 1"/>
          <p:cNvPicPr>
            <a:picLocks noChangeAspect="1"/>
          </p:cNvPicPr>
          <p:nvPr/>
        </p:nvPicPr>
        <p:blipFill>
          <a:blip r:embed="rId4"/>
          <a:stretch>
            <a:fillRect/>
          </a:stretch>
        </p:blipFill>
        <p:spPr>
          <a:xfrm>
            <a:off x="0" y="1028700"/>
            <a:ext cx="2955290" cy="3891915"/>
          </a:xfrm>
          <a:prstGeom prst="rect">
            <a:avLst/>
          </a:prstGeom>
          <a:noFill/>
          <a:ln w="9525">
            <a:noFill/>
          </a:ln>
        </p:spPr>
      </p:pic>
      <p:pic>
        <p:nvPicPr>
          <p:cNvPr id="7" name="图片 1"/>
          <p:cNvPicPr>
            <a:picLocks noChangeAspect="1"/>
          </p:cNvPicPr>
          <p:nvPr/>
        </p:nvPicPr>
        <p:blipFill>
          <a:blip r:embed="rId5"/>
          <a:stretch>
            <a:fillRect/>
          </a:stretch>
        </p:blipFill>
        <p:spPr>
          <a:xfrm>
            <a:off x="2955290" y="1028700"/>
            <a:ext cx="2917190" cy="3891915"/>
          </a:xfrm>
          <a:prstGeom prst="rect">
            <a:avLst/>
          </a:prstGeom>
          <a:noFill/>
          <a:ln w="9525">
            <a:noFill/>
          </a:ln>
        </p:spPr>
      </p:pic>
      <p:sp>
        <p:nvSpPr>
          <p:cNvPr id="3" name="文本框 2"/>
          <p:cNvSpPr txBox="1"/>
          <p:nvPr/>
        </p:nvSpPr>
        <p:spPr>
          <a:xfrm>
            <a:off x="250825" y="5357495"/>
            <a:ext cx="8122285" cy="645160"/>
          </a:xfrm>
          <a:prstGeom prst="rect">
            <a:avLst/>
          </a:prstGeom>
          <a:noFill/>
        </p:spPr>
        <p:txBody>
          <a:bodyPr wrap="square" rtlCol="0" anchor="t">
            <a:spAutoFit/>
          </a:bodyPr>
          <a:lstStyle/>
          <a:p>
            <a:r>
              <a:rPr lang="zh-CN" altLang="en-US"/>
              <a:t>粉丝用户点击收藏按钮，系统判断如果用户对该图片没有收藏，则收藏该图片。如果已经收藏了该图片，则收藏操作。收藏后的图片会在个人主页里显示。</a:t>
            </a:r>
          </a:p>
        </p:txBody>
      </p:sp>
    </p:spTree>
    <p:custDataLst>
      <p:tags r:id="rId1"/>
    </p:custDataLst>
    <p:extLst>
      <p:ext uri="{BB962C8B-B14F-4D97-AF65-F5344CB8AC3E}">
        <p14:creationId xmlns:p14="http://schemas.microsoft.com/office/powerpoint/2010/main" val="22331117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图片点赞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5</a:t>
            </a:fld>
            <a:endParaRPr lang="zh-CN" altLang="en-US"/>
          </a:p>
        </p:txBody>
      </p:sp>
      <p:pic>
        <p:nvPicPr>
          <p:cNvPr id="5" name="图片 1"/>
          <p:cNvPicPr>
            <a:picLocks noChangeAspect="1"/>
          </p:cNvPicPr>
          <p:nvPr/>
        </p:nvPicPr>
        <p:blipFill>
          <a:blip r:embed="rId3"/>
          <a:stretch>
            <a:fillRect/>
          </a:stretch>
        </p:blipFill>
        <p:spPr>
          <a:xfrm>
            <a:off x="5836285" y="1028700"/>
            <a:ext cx="6355715" cy="3960495"/>
          </a:xfrm>
          <a:prstGeom prst="rect">
            <a:avLst/>
          </a:prstGeom>
          <a:noFill/>
          <a:ln w="9525">
            <a:noFill/>
          </a:ln>
        </p:spPr>
      </p:pic>
      <p:pic>
        <p:nvPicPr>
          <p:cNvPr id="6" name="图片 1"/>
          <p:cNvPicPr>
            <a:picLocks noChangeAspect="1"/>
          </p:cNvPicPr>
          <p:nvPr/>
        </p:nvPicPr>
        <p:blipFill>
          <a:blip r:embed="rId4"/>
          <a:stretch>
            <a:fillRect/>
          </a:stretch>
        </p:blipFill>
        <p:spPr>
          <a:xfrm>
            <a:off x="0" y="1028700"/>
            <a:ext cx="2952115" cy="3960495"/>
          </a:xfrm>
          <a:prstGeom prst="rect">
            <a:avLst/>
          </a:prstGeom>
          <a:noFill/>
          <a:ln w="9525">
            <a:noFill/>
          </a:ln>
        </p:spPr>
      </p:pic>
      <p:pic>
        <p:nvPicPr>
          <p:cNvPr id="7" name="图片 1"/>
          <p:cNvPicPr>
            <a:picLocks noChangeAspect="1"/>
          </p:cNvPicPr>
          <p:nvPr/>
        </p:nvPicPr>
        <p:blipFill>
          <a:blip r:embed="rId5"/>
          <a:stretch>
            <a:fillRect/>
          </a:stretch>
        </p:blipFill>
        <p:spPr>
          <a:xfrm>
            <a:off x="2952115" y="1028700"/>
            <a:ext cx="2892425" cy="3960495"/>
          </a:xfrm>
          <a:prstGeom prst="rect">
            <a:avLst/>
          </a:prstGeom>
          <a:noFill/>
          <a:ln w="9525">
            <a:noFill/>
          </a:ln>
        </p:spPr>
      </p:pic>
      <p:sp>
        <p:nvSpPr>
          <p:cNvPr id="3" name="文本框 2"/>
          <p:cNvSpPr txBox="1"/>
          <p:nvPr/>
        </p:nvSpPr>
        <p:spPr>
          <a:xfrm>
            <a:off x="6544310" y="5158740"/>
            <a:ext cx="4114800" cy="1198880"/>
          </a:xfrm>
          <a:prstGeom prst="rect">
            <a:avLst/>
          </a:prstGeom>
          <a:noFill/>
        </p:spPr>
        <p:txBody>
          <a:bodyPr wrap="square" rtlCol="0" anchor="t">
            <a:spAutoFit/>
          </a:bodyPr>
          <a:lstStyle/>
          <a:p>
            <a:r>
              <a:rPr lang="zh-CN" altLang="en-US"/>
              <a:t>粉丝用户点击点赞按钮，系统判断如果用户对该图片没有点赞，则进行点赞操作。如果已经点赞了该图片，则取消点赞操作。</a:t>
            </a:r>
          </a:p>
        </p:txBody>
      </p:sp>
      <p:pic>
        <p:nvPicPr>
          <p:cNvPr id="8" name="图片 1"/>
          <p:cNvPicPr>
            <a:picLocks noChangeAspect="1"/>
          </p:cNvPicPr>
          <p:nvPr/>
        </p:nvPicPr>
        <p:blipFill>
          <a:blip r:embed="rId6"/>
          <a:stretch>
            <a:fillRect/>
          </a:stretch>
        </p:blipFill>
        <p:spPr>
          <a:xfrm>
            <a:off x="0" y="5158740"/>
            <a:ext cx="5730875" cy="1547495"/>
          </a:xfrm>
          <a:prstGeom prst="rect">
            <a:avLst/>
          </a:prstGeom>
          <a:noFill/>
          <a:ln w="9525">
            <a:noFill/>
          </a:ln>
        </p:spPr>
      </p:pic>
    </p:spTree>
    <p:custDataLst>
      <p:tags r:id="rId1"/>
    </p:custDataLst>
    <p:extLst>
      <p:ext uri="{BB962C8B-B14F-4D97-AF65-F5344CB8AC3E}">
        <p14:creationId xmlns:p14="http://schemas.microsoft.com/office/powerpoint/2010/main" val="18354090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根据</a:t>
            </a:r>
            <a:r>
              <a:rPr lang="en-US" altLang="zh-CN" smtClean="0"/>
              <a:t>“tag”</a:t>
            </a:r>
            <a:r>
              <a:rPr lang="zh-CN" altLang="en-US" smtClean="0"/>
              <a:t>搜索图片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6</a:t>
            </a:fld>
            <a:endParaRPr lang="zh-CN" altLang="en-US"/>
          </a:p>
        </p:txBody>
      </p:sp>
      <p:pic>
        <p:nvPicPr>
          <p:cNvPr id="5" name="图片 1"/>
          <p:cNvPicPr>
            <a:picLocks noChangeAspect="1"/>
          </p:cNvPicPr>
          <p:nvPr/>
        </p:nvPicPr>
        <p:blipFill>
          <a:blip r:embed="rId3"/>
          <a:stretch>
            <a:fillRect/>
          </a:stretch>
        </p:blipFill>
        <p:spPr>
          <a:xfrm>
            <a:off x="6310630" y="1028700"/>
            <a:ext cx="5881370" cy="3247390"/>
          </a:xfrm>
          <a:prstGeom prst="rect">
            <a:avLst/>
          </a:prstGeom>
          <a:noFill/>
          <a:ln w="9525">
            <a:noFill/>
          </a:ln>
        </p:spPr>
      </p:pic>
      <p:pic>
        <p:nvPicPr>
          <p:cNvPr id="6" name="图片 1"/>
          <p:cNvPicPr>
            <a:picLocks noChangeAspect="1"/>
          </p:cNvPicPr>
          <p:nvPr/>
        </p:nvPicPr>
        <p:blipFill>
          <a:blip r:embed="rId4"/>
          <a:stretch>
            <a:fillRect/>
          </a:stretch>
        </p:blipFill>
        <p:spPr>
          <a:xfrm>
            <a:off x="337185" y="1028700"/>
            <a:ext cx="5414010" cy="2944495"/>
          </a:xfrm>
          <a:prstGeom prst="rect">
            <a:avLst/>
          </a:prstGeom>
          <a:noFill/>
          <a:ln w="9525">
            <a:noFill/>
          </a:ln>
        </p:spPr>
      </p:pic>
      <p:pic>
        <p:nvPicPr>
          <p:cNvPr id="1073742856" name="图片 1073742855" descr="C:\Users\AERO\Documents\Tencent Files\345268049\Image\C2C\Image1\(A0PG[D(G9O{L`@ZJX0)IFQ.jpg"/>
          <p:cNvPicPr>
            <a:picLocks noChangeAspect="1"/>
          </p:cNvPicPr>
          <p:nvPr/>
        </p:nvPicPr>
        <p:blipFill>
          <a:blip r:embed="rId5" r:link="rId6"/>
          <a:stretch>
            <a:fillRect/>
          </a:stretch>
        </p:blipFill>
        <p:spPr>
          <a:xfrm>
            <a:off x="337185" y="3973830"/>
            <a:ext cx="5413375" cy="2266950"/>
          </a:xfrm>
          <a:prstGeom prst="rect">
            <a:avLst/>
          </a:prstGeom>
          <a:noFill/>
          <a:ln w="9525">
            <a:noFill/>
          </a:ln>
        </p:spPr>
      </p:pic>
      <p:sp>
        <p:nvSpPr>
          <p:cNvPr id="3" name="文本框 2"/>
          <p:cNvSpPr txBox="1"/>
          <p:nvPr/>
        </p:nvSpPr>
        <p:spPr>
          <a:xfrm>
            <a:off x="6310630" y="4743450"/>
            <a:ext cx="4822190" cy="1198880"/>
          </a:xfrm>
          <a:prstGeom prst="rect">
            <a:avLst/>
          </a:prstGeom>
          <a:noFill/>
        </p:spPr>
        <p:txBody>
          <a:bodyPr wrap="square" rtlCol="0" anchor="t">
            <a:spAutoFit/>
          </a:bodyPr>
          <a:lstStyle/>
          <a:p>
            <a:r>
              <a:rPr lang="zh-CN" altLang="en-US"/>
              <a:t>用户可以在图片搜索页面输入想搜索的图片类型，按Enter键页面会返回该类型的图片。用户还可以在每个页面的左上角搜索框进行搜索，页面也会跳转到搜索该类型的图片页面。</a:t>
            </a:r>
          </a:p>
        </p:txBody>
      </p:sp>
    </p:spTree>
    <p:custDataLst>
      <p:tags r:id="rId1"/>
    </p:custDataLst>
    <p:extLst>
      <p:ext uri="{BB962C8B-B14F-4D97-AF65-F5344CB8AC3E}">
        <p14:creationId xmlns:p14="http://schemas.microsoft.com/office/powerpoint/2010/main" val="410965909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2.14根据图片查找相似图片</a:t>
            </a:r>
            <a:r>
              <a:rPr lang="zh-CN" altLang="en-US" smtClean="0"/>
              <a:t>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7</a:t>
            </a:fld>
            <a:endParaRPr lang="zh-CN" altLang="en-US"/>
          </a:p>
        </p:txBody>
      </p:sp>
      <p:pic>
        <p:nvPicPr>
          <p:cNvPr id="5" name="图片 1"/>
          <p:cNvPicPr>
            <a:picLocks noChangeAspect="1"/>
          </p:cNvPicPr>
          <p:nvPr/>
        </p:nvPicPr>
        <p:blipFill>
          <a:blip r:embed="rId3"/>
          <a:stretch>
            <a:fillRect/>
          </a:stretch>
        </p:blipFill>
        <p:spPr>
          <a:xfrm>
            <a:off x="6954520" y="801370"/>
            <a:ext cx="5237480" cy="2767965"/>
          </a:xfrm>
          <a:prstGeom prst="rect">
            <a:avLst/>
          </a:prstGeom>
          <a:noFill/>
          <a:ln w="9525">
            <a:noFill/>
          </a:ln>
        </p:spPr>
      </p:pic>
      <p:pic>
        <p:nvPicPr>
          <p:cNvPr id="6" name="图片 -2147482520" descr="test2"/>
          <p:cNvPicPr>
            <a:picLocks noChangeAspect="1"/>
          </p:cNvPicPr>
          <p:nvPr/>
        </p:nvPicPr>
        <p:blipFill>
          <a:blip r:embed="rId4"/>
          <a:stretch>
            <a:fillRect/>
          </a:stretch>
        </p:blipFill>
        <p:spPr>
          <a:xfrm>
            <a:off x="0" y="1028700"/>
            <a:ext cx="3199765" cy="2519680"/>
          </a:xfrm>
          <a:prstGeom prst="rect">
            <a:avLst/>
          </a:prstGeom>
          <a:noFill/>
          <a:ln w="9525">
            <a:noFill/>
          </a:ln>
        </p:spPr>
      </p:pic>
      <p:pic>
        <p:nvPicPr>
          <p:cNvPr id="7" name="图片 1"/>
          <p:cNvPicPr>
            <a:picLocks noChangeAspect="1"/>
          </p:cNvPicPr>
          <p:nvPr/>
        </p:nvPicPr>
        <p:blipFill>
          <a:blip r:embed="rId5"/>
          <a:stretch>
            <a:fillRect/>
          </a:stretch>
        </p:blipFill>
        <p:spPr>
          <a:xfrm>
            <a:off x="3199765" y="1028700"/>
            <a:ext cx="3754755" cy="2540000"/>
          </a:xfrm>
          <a:prstGeom prst="rect">
            <a:avLst/>
          </a:prstGeom>
          <a:noFill/>
          <a:ln w="9525">
            <a:noFill/>
          </a:ln>
        </p:spPr>
      </p:pic>
      <p:pic>
        <p:nvPicPr>
          <p:cNvPr id="8" name="图片 1"/>
          <p:cNvPicPr>
            <a:picLocks noChangeAspect="1"/>
          </p:cNvPicPr>
          <p:nvPr/>
        </p:nvPicPr>
        <p:blipFill>
          <a:blip r:embed="rId6"/>
          <a:stretch>
            <a:fillRect/>
          </a:stretch>
        </p:blipFill>
        <p:spPr>
          <a:xfrm>
            <a:off x="-317" y="3857308"/>
            <a:ext cx="5932805" cy="2676525"/>
          </a:xfrm>
          <a:prstGeom prst="rect">
            <a:avLst/>
          </a:prstGeom>
          <a:noFill/>
          <a:ln w="9525">
            <a:noFill/>
          </a:ln>
        </p:spPr>
      </p:pic>
      <p:sp>
        <p:nvSpPr>
          <p:cNvPr id="3" name="文本框 2"/>
          <p:cNvSpPr txBox="1"/>
          <p:nvPr/>
        </p:nvSpPr>
        <p:spPr>
          <a:xfrm>
            <a:off x="6954520" y="4530090"/>
            <a:ext cx="3924935" cy="922020"/>
          </a:xfrm>
          <a:prstGeom prst="rect">
            <a:avLst/>
          </a:prstGeom>
          <a:noFill/>
        </p:spPr>
        <p:txBody>
          <a:bodyPr wrap="square" rtlCol="0" anchor="t">
            <a:spAutoFit/>
          </a:bodyPr>
          <a:lstStyle/>
          <a:p>
            <a:r>
              <a:rPr lang="zh-CN" altLang="en-US"/>
              <a:t>相似图片就是点击按钮之后上传本地的图片，系统经过AI分析后，匹配相似的图片，并且返回图片给用户。</a:t>
            </a:r>
          </a:p>
        </p:txBody>
      </p:sp>
    </p:spTree>
    <p:custDataLst>
      <p:tags r:id="rId1"/>
    </p:custDataLst>
    <p:extLst>
      <p:ext uri="{BB962C8B-B14F-4D97-AF65-F5344CB8AC3E}">
        <p14:creationId xmlns:p14="http://schemas.microsoft.com/office/powerpoint/2010/main" val="8429049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发布和查看博客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18</a:t>
            </a:fld>
            <a:endParaRPr lang="zh-CN" altLang="en-US"/>
          </a:p>
        </p:txBody>
      </p:sp>
      <p:pic>
        <p:nvPicPr>
          <p:cNvPr id="5" name="图片 1"/>
          <p:cNvPicPr>
            <a:picLocks noChangeAspect="1"/>
          </p:cNvPicPr>
          <p:nvPr/>
        </p:nvPicPr>
        <p:blipFill>
          <a:blip r:embed="rId3"/>
          <a:stretch>
            <a:fillRect/>
          </a:stretch>
        </p:blipFill>
        <p:spPr>
          <a:xfrm>
            <a:off x="-317" y="1096963"/>
            <a:ext cx="5238115" cy="3352165"/>
          </a:xfrm>
          <a:prstGeom prst="rect">
            <a:avLst/>
          </a:prstGeom>
          <a:noFill/>
          <a:ln w="9525">
            <a:noFill/>
          </a:ln>
        </p:spPr>
      </p:pic>
      <p:pic>
        <p:nvPicPr>
          <p:cNvPr id="6" name="图片 -2147482336" descr="G]TZVC]6)E07FFB]~`$3O[0"/>
          <p:cNvPicPr>
            <a:picLocks noChangeAspect="1"/>
          </p:cNvPicPr>
          <p:nvPr/>
        </p:nvPicPr>
        <p:blipFill>
          <a:blip r:embed="rId4"/>
          <a:stretch>
            <a:fillRect/>
          </a:stretch>
        </p:blipFill>
        <p:spPr>
          <a:xfrm>
            <a:off x="6288405" y="1028700"/>
            <a:ext cx="5520690" cy="2791460"/>
          </a:xfrm>
          <a:prstGeom prst="rect">
            <a:avLst/>
          </a:prstGeom>
          <a:noFill/>
          <a:ln w="9525">
            <a:noFill/>
          </a:ln>
        </p:spPr>
      </p:pic>
      <p:pic>
        <p:nvPicPr>
          <p:cNvPr id="7" name="图片 -2147482333" descr="@2PU6B6`L]WK9XP%VC4X(AW"/>
          <p:cNvPicPr>
            <a:picLocks noChangeAspect="1"/>
          </p:cNvPicPr>
          <p:nvPr/>
        </p:nvPicPr>
        <p:blipFill>
          <a:blip r:embed="rId5"/>
          <a:stretch>
            <a:fillRect/>
          </a:stretch>
        </p:blipFill>
        <p:spPr>
          <a:xfrm>
            <a:off x="6288405" y="3997325"/>
            <a:ext cx="5520690" cy="2860675"/>
          </a:xfrm>
          <a:prstGeom prst="rect">
            <a:avLst/>
          </a:prstGeom>
          <a:noFill/>
          <a:ln w="9525">
            <a:noFill/>
          </a:ln>
        </p:spPr>
      </p:pic>
      <p:sp>
        <p:nvSpPr>
          <p:cNvPr id="3" name="文本框 2"/>
          <p:cNvSpPr txBox="1"/>
          <p:nvPr/>
        </p:nvSpPr>
        <p:spPr>
          <a:xfrm>
            <a:off x="205740" y="4645660"/>
            <a:ext cx="5817870" cy="2030095"/>
          </a:xfrm>
          <a:prstGeom prst="rect">
            <a:avLst/>
          </a:prstGeom>
          <a:noFill/>
        </p:spPr>
        <p:txBody>
          <a:bodyPr wrap="square" rtlCol="0" anchor="t">
            <a:spAutoFit/>
          </a:bodyPr>
          <a:lstStyle/>
          <a:p>
            <a:r>
              <a:rPr lang="zh-CN" altLang="en-US"/>
              <a:t>点击写博客会弹出输入框和提交、取消按钮，点击提交将会将个人id和输入的文本信息提交至数据库，点击取消则输入框消失。提交博客后点击换一批更新博客后，可以获取自己新提交的博客内容。</a:t>
            </a:r>
          </a:p>
          <a:p>
            <a:r>
              <a:rPr lang="zh-CN" altLang="en-US"/>
              <a:t>博客页面，进入博客页面后数据库将会提供最多十条博客信息，其中信息包括用户名、博客内容、发布时间，点击换一批按钮将会重新更新博客框内的信息。</a:t>
            </a:r>
          </a:p>
        </p:txBody>
      </p:sp>
    </p:spTree>
    <p:custDataLst>
      <p:tags r:id="rId1"/>
    </p:custDataLst>
    <p:extLst>
      <p:ext uri="{BB962C8B-B14F-4D97-AF65-F5344CB8AC3E}">
        <p14:creationId xmlns:p14="http://schemas.microsoft.com/office/powerpoint/2010/main" val="37726750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后端功能</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883904" y="2437747"/>
            <a:ext cx="1023516" cy="889909"/>
          </a:xfrm>
          <a:prstGeom prst="rect">
            <a:avLst/>
          </a:prstGeom>
          <a:noFill/>
          <a:ln w="117475">
            <a:noFill/>
          </a:ln>
        </p:spPr>
        <p:txBody>
          <a:bodyPr wrap="none" rtlCol="0">
            <a:prstTxWarp prst="textPlain">
              <a:avLst/>
            </a:prstTxWarp>
            <a:spAutoFit/>
          </a:bodyPr>
          <a:lstStyle/>
          <a:p>
            <a:r>
              <a:rPr lang="en-US" altLang="zh-CN"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rPr>
              <a:t>/</a:t>
            </a:r>
            <a:r>
              <a:rPr lang="en-US" altLang="zh-CN" sz="100"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rPr>
              <a:t> </a:t>
            </a:r>
            <a:r>
              <a:rPr lang="en-US" altLang="zh-CN"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rPr>
              <a:t>03</a:t>
            </a:r>
            <a:endParaRPr lang="zh-CN" altLang="en-US"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672825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3"/>
              </p:custDataLst>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CN" altLang="en-US" b="0" dirty="0">
                    <a:latin typeface="+mn-lt"/>
                    <a:ea typeface="+mn-ea"/>
                    <a:sym typeface="+mn-lt"/>
                  </a:rPr>
                  <a:t>项目概述</a:t>
                </a:r>
                <a:endParaRPr lang="en-US" altLang="zh-CN" b="0" dirty="0">
                  <a:latin typeface="+mn-lt"/>
                  <a:ea typeface="+mn-ea"/>
                  <a:sym typeface="+mn-lt"/>
                </a:endParaRPr>
              </a:p>
              <a:p>
                <a:pPr marL="342900" indent="-342900">
                  <a:lnSpc>
                    <a:spcPct val="150000"/>
                  </a:lnSpc>
                  <a:buFont typeface="+mj-lt"/>
                  <a:buAutoNum type="arabicPeriod"/>
                </a:pPr>
                <a:endParaRPr lang="en-US" altLang="zh-CN" b="0" dirty="0">
                  <a:latin typeface="+mn-lt"/>
                  <a:ea typeface="+mn-ea"/>
                  <a:sym typeface="+mn-lt"/>
                </a:endParaRPr>
              </a:p>
              <a:p>
                <a:pPr marL="342900" indent="-342900">
                  <a:lnSpc>
                    <a:spcPct val="150000"/>
                  </a:lnSpc>
                  <a:buFont typeface="+mj-lt"/>
                  <a:buAutoNum type="arabicPeriod"/>
                </a:pPr>
                <a:r>
                  <a:rPr lang="zh-CN" altLang="en-US" b="0" dirty="0">
                    <a:latin typeface="+mn-lt"/>
                    <a:ea typeface="+mn-ea"/>
                    <a:sym typeface="+mn-lt"/>
                  </a:rPr>
                  <a:t>前端功能</a:t>
                </a:r>
                <a:endParaRPr lang="en-US" altLang="zh-CN" b="0" dirty="0">
                  <a:latin typeface="+mn-lt"/>
                  <a:ea typeface="+mn-ea"/>
                  <a:sym typeface="+mn-lt"/>
                </a:endParaRPr>
              </a:p>
              <a:p>
                <a:pPr marL="342900" indent="-342900">
                  <a:lnSpc>
                    <a:spcPct val="150000"/>
                  </a:lnSpc>
                  <a:buFont typeface="+mj-lt"/>
                  <a:buAutoNum type="arabicPeriod"/>
                </a:pPr>
                <a:endParaRPr lang="en-US" altLang="zh-CN" b="0" dirty="0">
                  <a:latin typeface="+mn-lt"/>
                  <a:ea typeface="+mn-ea"/>
                  <a:sym typeface="+mn-lt"/>
                </a:endParaRPr>
              </a:p>
              <a:p>
                <a:pPr marL="342900" indent="-342900">
                  <a:lnSpc>
                    <a:spcPct val="150000"/>
                  </a:lnSpc>
                  <a:buFont typeface="+mj-lt"/>
                  <a:buAutoNum type="arabicPeriod"/>
                </a:pPr>
                <a:r>
                  <a:rPr lang="zh-CN" altLang="en-US" b="0" dirty="0">
                    <a:latin typeface="+mn-lt"/>
                    <a:ea typeface="+mn-ea"/>
                    <a:sym typeface="+mn-lt"/>
                  </a:rPr>
                  <a:t>后端功能</a:t>
                </a: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a:t>
                </a:r>
                <a:r>
                  <a:rPr lang="tr-TR" sz="100" b="1">
                    <a:solidFill>
                      <a:schemeClr val="accent1"/>
                    </a:solidFill>
                    <a:cs typeface="+mn-ea"/>
                    <a:sym typeface="+mn-lt"/>
                  </a:rPr>
                  <a:t> </a:t>
                </a:r>
                <a:r>
                  <a:rPr lang="tr-TR" sz="2800" b="1">
                    <a:solidFill>
                      <a:schemeClr val="accent1"/>
                    </a:solidFill>
                    <a:cs typeface="+mn-ea"/>
                    <a:sym typeface="+mn-lt"/>
                  </a:rPr>
                  <a:t>ENTS</a:t>
                </a:r>
                <a:endParaRPr lang="tr-TR" sz="2800" b="1" dirty="0">
                  <a:solidFill>
                    <a:schemeClr val="accent1"/>
                  </a:solidFill>
                  <a:cs typeface="+mn-ea"/>
                  <a:sym typeface="+mn-lt"/>
                </a:endParaRP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17537853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后端功能介绍</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0</a:t>
            </a:fld>
            <a:endParaRPr lang="zh-CN" altLang="en-US"/>
          </a:p>
        </p:txBody>
      </p:sp>
      <p:grpSp>
        <p:nvGrpSpPr>
          <p:cNvPr id="5" name="#46801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3"/>
            </p:custDataLst>
          </p:nvPr>
        </p:nvGrpSpPr>
        <p:grpSpPr>
          <a:xfrm>
            <a:off x="458559" y="930643"/>
            <a:ext cx="11061928" cy="5109621"/>
            <a:chOff x="660400" y="1143126"/>
            <a:chExt cx="11061928" cy="5109621"/>
          </a:xfrm>
        </p:grpSpPr>
        <p:sp>
          <p:nvSpPr>
            <p:cNvPr id="6" name="í$ḻïďê">
              <a:extLst>
                <a:ext uri="{FF2B5EF4-FFF2-40B4-BE49-F238E27FC236}">
                  <a16:creationId xmlns:a16="http://schemas.microsoft.com/office/drawing/2014/main" id="{14385BC8-6EA0-4099-A076-A4DCE3977D66}"/>
                </a:ext>
              </a:extLst>
            </p:cNvPr>
            <p:cNvSpPr/>
            <p:nvPr/>
          </p:nvSpPr>
          <p:spPr>
            <a:xfrm>
              <a:off x="9614128" y="1881684"/>
              <a:ext cx="2108200" cy="4354015"/>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dirty="0">
                <a:solidFill>
                  <a:schemeClr val="bg1"/>
                </a:solidFill>
              </a:endParaRPr>
            </a:p>
          </p:txBody>
        </p:sp>
        <p:sp>
          <p:nvSpPr>
            <p:cNvPr id="7" name="ïṡľïḍé">
              <a:extLst>
                <a:ext uri="{FF2B5EF4-FFF2-40B4-BE49-F238E27FC236}">
                  <a16:creationId xmlns:a16="http://schemas.microsoft.com/office/drawing/2014/main" id="{8DCD49FA-808D-4761-98D9-F61196DCCA64}"/>
                </a:ext>
              </a:extLst>
            </p:cNvPr>
            <p:cNvSpPr/>
            <p:nvPr/>
          </p:nvSpPr>
          <p:spPr>
            <a:xfrm>
              <a:off x="7464799" y="2451099"/>
              <a:ext cx="2108200" cy="3784600"/>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dirty="0">
                <a:solidFill>
                  <a:schemeClr val="bg1"/>
                </a:solidFill>
              </a:endParaRPr>
            </a:p>
          </p:txBody>
        </p:sp>
        <p:sp>
          <p:nvSpPr>
            <p:cNvPr id="8" name="îṣ1îḑê">
              <a:extLst>
                <a:ext uri="{FF2B5EF4-FFF2-40B4-BE49-F238E27FC236}">
                  <a16:creationId xmlns:a16="http://schemas.microsoft.com/office/drawing/2014/main" id="{0A96ED73-5805-4AF8-A0A5-E228B7EE4E24}"/>
                </a:ext>
              </a:extLst>
            </p:cNvPr>
            <p:cNvSpPr/>
            <p:nvPr/>
          </p:nvSpPr>
          <p:spPr>
            <a:xfrm>
              <a:off x="5111789" y="2990932"/>
              <a:ext cx="2108200" cy="3261815"/>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dirty="0">
                <a:solidFill>
                  <a:schemeClr val="bg1"/>
                </a:solidFill>
              </a:endParaRPr>
            </a:p>
          </p:txBody>
        </p:sp>
        <p:sp>
          <p:nvSpPr>
            <p:cNvPr id="9" name="ïşļîḋé">
              <a:extLst>
                <a:ext uri="{FF2B5EF4-FFF2-40B4-BE49-F238E27FC236}">
                  <a16:creationId xmlns:a16="http://schemas.microsoft.com/office/drawing/2014/main" id="{F069B26E-BD7A-447A-AC3B-DECAE4E12F99}"/>
                </a:ext>
              </a:extLst>
            </p:cNvPr>
            <p:cNvSpPr/>
            <p:nvPr/>
          </p:nvSpPr>
          <p:spPr>
            <a:xfrm>
              <a:off x="2898832" y="3543300"/>
              <a:ext cx="2108200" cy="2692400"/>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dirty="0">
                <a:solidFill>
                  <a:schemeClr val="bg1"/>
                </a:solidFill>
              </a:endParaRPr>
            </a:p>
          </p:txBody>
        </p:sp>
        <p:sp>
          <p:nvSpPr>
            <p:cNvPr id="10" name="íŝḷíḋè">
              <a:extLst>
                <a:ext uri="{FF2B5EF4-FFF2-40B4-BE49-F238E27FC236}">
                  <a16:creationId xmlns:a16="http://schemas.microsoft.com/office/drawing/2014/main" id="{A2E79F97-A136-46B8-84CA-510CCCB9BB47}"/>
                </a:ext>
              </a:extLst>
            </p:cNvPr>
            <p:cNvSpPr/>
            <p:nvPr/>
          </p:nvSpPr>
          <p:spPr>
            <a:xfrm>
              <a:off x="660400" y="3990004"/>
              <a:ext cx="2108200" cy="2245696"/>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dirty="0">
                <a:solidFill>
                  <a:schemeClr val="bg1"/>
                </a:solidFill>
              </a:endParaRPr>
            </a:p>
          </p:txBody>
        </p:sp>
        <p:sp>
          <p:nvSpPr>
            <p:cNvPr id="11" name="iṥ1iḓé">
              <a:extLst>
                <a:ext uri="{FF2B5EF4-FFF2-40B4-BE49-F238E27FC236}">
                  <a16:creationId xmlns:a16="http://schemas.microsoft.com/office/drawing/2014/main" id="{46378335-0AD8-4E27-8045-2001855A68F7}"/>
                </a:ext>
              </a:extLst>
            </p:cNvPr>
            <p:cNvSpPr/>
            <p:nvPr/>
          </p:nvSpPr>
          <p:spPr>
            <a:xfrm>
              <a:off x="790632" y="4961819"/>
              <a:ext cx="1847737" cy="397457"/>
            </a:xfrm>
            <a:prstGeom prst="rect">
              <a:avLst/>
            </a:prstGeom>
            <a:noFill/>
            <a:ln>
              <a:noFill/>
            </a:ln>
          </p:spPr>
          <p:txBody>
            <a:bodyPr wrap="square" lIns="91440" tIns="45720" rIns="91440" bIns="45720" anchor="b" anchorCtr="0">
              <a:normAutofit fontScale="85000" lnSpcReduction="20000"/>
            </a:bodyPr>
            <a:lstStyle/>
            <a:p>
              <a:pPr marR="0" lvl="0" algn="ctr" defTabSz="914400" eaLnBrk="1" fontAlgn="auto" latinLnBrk="0" hangingPunct="1">
                <a:spcBef>
                  <a:spcPts val="0"/>
                </a:spcBef>
                <a:spcAft>
                  <a:spcPts val="0"/>
                </a:spcAft>
                <a:buClrTx/>
                <a:buSzTx/>
                <a:defRPr/>
              </a:pPr>
              <a:r>
                <a:rPr lang="en-US" altLang="zh-CN" sz="2800" b="1" dirty="0"/>
                <a:t>Blog</a:t>
              </a:r>
              <a:endParaRPr lang="en-US" altLang="zh-CN" sz="2800" b="1" dirty="0"/>
            </a:p>
          </p:txBody>
        </p:sp>
        <p:sp>
          <p:nvSpPr>
            <p:cNvPr id="12" name="îśḷîḍè">
              <a:extLst>
                <a:ext uri="{FF2B5EF4-FFF2-40B4-BE49-F238E27FC236}">
                  <a16:creationId xmlns:a16="http://schemas.microsoft.com/office/drawing/2014/main" id="{71034762-D233-46F8-995F-37A1089AC6A3}"/>
                </a:ext>
              </a:extLst>
            </p:cNvPr>
            <p:cNvSpPr/>
            <p:nvPr/>
          </p:nvSpPr>
          <p:spPr>
            <a:xfrm>
              <a:off x="790632" y="5419666"/>
              <a:ext cx="1847737" cy="774601"/>
            </a:xfrm>
            <a:prstGeom prst="rect">
              <a:avLst/>
            </a:prstGeom>
            <a:ln>
              <a:noFill/>
            </a:ln>
          </p:spPr>
          <p:txBody>
            <a:bodyPr wrap="square" lIns="91440" tIns="45720" rIns="91440" bIns="45720" anchor="t">
              <a:noAutofit/>
            </a:bodyPr>
            <a:lstStyle/>
            <a:p>
              <a:pPr lvl="0" algn="ctr">
                <a:lnSpc>
                  <a:spcPct val="120000"/>
                </a:lnSpc>
                <a:defRPr/>
              </a:pPr>
              <a:r>
                <a:rPr lang="zh-CN" altLang="en-US" dirty="0" smtClean="0">
                  <a:solidFill>
                    <a:schemeClr val="bg1">
                      <a:lumMod val="50000"/>
                    </a:schemeClr>
                  </a:solidFill>
                </a:rPr>
                <a:t>博客</a:t>
              </a:r>
              <a:r>
                <a:rPr lang="en-US" altLang="zh-CN" dirty="0" smtClean="0">
                  <a:solidFill>
                    <a:schemeClr val="bg1">
                      <a:lumMod val="50000"/>
                    </a:schemeClr>
                  </a:solidFill>
                </a:rPr>
                <a:t>API</a:t>
              </a:r>
              <a:endParaRPr lang="en-US" altLang="zh-CN" dirty="0">
                <a:solidFill>
                  <a:schemeClr val="bg1">
                    <a:lumMod val="50000"/>
                  </a:schemeClr>
                </a:solidFill>
              </a:endParaRPr>
            </a:p>
          </p:txBody>
        </p:sp>
        <p:sp>
          <p:nvSpPr>
            <p:cNvPr id="13" name="ísliḍé">
              <a:extLst>
                <a:ext uri="{FF2B5EF4-FFF2-40B4-BE49-F238E27FC236}">
                  <a16:creationId xmlns:a16="http://schemas.microsoft.com/office/drawing/2014/main" id="{A8DFBF6C-C09A-4F5F-A3E5-F7E09D8A15A9}"/>
                </a:ext>
              </a:extLst>
            </p:cNvPr>
            <p:cNvSpPr/>
            <p:nvPr/>
          </p:nvSpPr>
          <p:spPr>
            <a:xfrm>
              <a:off x="1508477" y="4265483"/>
              <a:ext cx="409223" cy="498185"/>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accent1"/>
            </a:solidFill>
            <a:ln w="9525" cap="flat">
              <a:noFill/>
              <a:prstDash val="solid"/>
              <a:miter/>
            </a:ln>
          </p:spPr>
          <p:txBody>
            <a:bodyPr wrap="square" rtlCol="0" anchor="ctr">
              <a:noAutofit/>
            </a:bodyPr>
            <a:lstStyle/>
            <a:p>
              <a:endParaRPr lang="zh-CN" altLang="en-US"/>
            </a:p>
          </p:txBody>
        </p:sp>
        <p:sp>
          <p:nvSpPr>
            <p:cNvPr id="14" name="íŝļiḍê">
              <a:extLst>
                <a:ext uri="{FF2B5EF4-FFF2-40B4-BE49-F238E27FC236}">
                  <a16:creationId xmlns:a16="http://schemas.microsoft.com/office/drawing/2014/main" id="{9A09419C-DF8B-4F6D-969C-CD63BD77801F}"/>
                </a:ext>
              </a:extLst>
            </p:cNvPr>
            <p:cNvSpPr/>
            <p:nvPr/>
          </p:nvSpPr>
          <p:spPr>
            <a:xfrm>
              <a:off x="3746909" y="3757483"/>
              <a:ext cx="462600" cy="498185"/>
            </a:xfrm>
            <a:custGeom>
              <a:avLst/>
              <a:gdLst>
                <a:gd name="connsiteX0" fmla="*/ 400530 w 495300"/>
                <a:gd name="connsiteY0" fmla="*/ 621 h 533400"/>
                <a:gd name="connsiteX1" fmla="*/ 400530 w 495300"/>
                <a:gd name="connsiteY1" fmla="*/ 162546 h 533400"/>
                <a:gd name="connsiteX2" fmla="*/ 257655 w 495300"/>
                <a:gd name="connsiteY2" fmla="*/ 162546 h 533400"/>
                <a:gd name="connsiteX3" fmla="*/ 257655 w 495300"/>
                <a:gd name="connsiteY3" fmla="*/ 295896 h 533400"/>
                <a:gd name="connsiteX4" fmla="*/ 457680 w 495300"/>
                <a:gd name="connsiteY4" fmla="*/ 295896 h 533400"/>
                <a:gd name="connsiteX5" fmla="*/ 457680 w 495300"/>
                <a:gd name="connsiteY5" fmla="*/ 438771 h 533400"/>
                <a:gd name="connsiteX6" fmla="*/ 495780 w 495300"/>
                <a:gd name="connsiteY6" fmla="*/ 438771 h 533400"/>
                <a:gd name="connsiteX7" fmla="*/ 495780 w 495300"/>
                <a:gd name="connsiteY7" fmla="*/ 534021 h 533400"/>
                <a:gd name="connsiteX8" fmla="*/ 400530 w 495300"/>
                <a:gd name="connsiteY8" fmla="*/ 534021 h 533400"/>
                <a:gd name="connsiteX9" fmla="*/ 400530 w 495300"/>
                <a:gd name="connsiteY9" fmla="*/ 438771 h 533400"/>
                <a:gd name="connsiteX10" fmla="*/ 438630 w 495300"/>
                <a:gd name="connsiteY10" fmla="*/ 438771 h 533400"/>
                <a:gd name="connsiteX11" fmla="*/ 438630 w 495300"/>
                <a:gd name="connsiteY11" fmla="*/ 314946 h 533400"/>
                <a:gd name="connsiteX12" fmla="*/ 257655 w 495300"/>
                <a:gd name="connsiteY12" fmla="*/ 314946 h 533400"/>
                <a:gd name="connsiteX13" fmla="*/ 257655 w 495300"/>
                <a:gd name="connsiteY13" fmla="*/ 438771 h 533400"/>
                <a:gd name="connsiteX14" fmla="*/ 295755 w 495300"/>
                <a:gd name="connsiteY14" fmla="*/ 438771 h 533400"/>
                <a:gd name="connsiteX15" fmla="*/ 295755 w 495300"/>
                <a:gd name="connsiteY15" fmla="*/ 534021 h 533400"/>
                <a:gd name="connsiteX16" fmla="*/ 200505 w 495300"/>
                <a:gd name="connsiteY16" fmla="*/ 534021 h 533400"/>
                <a:gd name="connsiteX17" fmla="*/ 200505 w 495300"/>
                <a:gd name="connsiteY17" fmla="*/ 438771 h 533400"/>
                <a:gd name="connsiteX18" fmla="*/ 238605 w 495300"/>
                <a:gd name="connsiteY18" fmla="*/ 438771 h 533400"/>
                <a:gd name="connsiteX19" fmla="*/ 238605 w 495300"/>
                <a:gd name="connsiteY19" fmla="*/ 314946 h 533400"/>
                <a:gd name="connsiteX20" fmla="*/ 57630 w 495300"/>
                <a:gd name="connsiteY20" fmla="*/ 314946 h 533400"/>
                <a:gd name="connsiteX21" fmla="*/ 57630 w 495300"/>
                <a:gd name="connsiteY21" fmla="*/ 438771 h 533400"/>
                <a:gd name="connsiteX22" fmla="*/ 95730 w 495300"/>
                <a:gd name="connsiteY22" fmla="*/ 438771 h 533400"/>
                <a:gd name="connsiteX23" fmla="*/ 95730 w 495300"/>
                <a:gd name="connsiteY23" fmla="*/ 534021 h 533400"/>
                <a:gd name="connsiteX24" fmla="*/ 480 w 495300"/>
                <a:gd name="connsiteY24" fmla="*/ 534021 h 533400"/>
                <a:gd name="connsiteX25" fmla="*/ 480 w 495300"/>
                <a:gd name="connsiteY25" fmla="*/ 438771 h 533400"/>
                <a:gd name="connsiteX26" fmla="*/ 38580 w 495300"/>
                <a:gd name="connsiteY26" fmla="*/ 438771 h 533400"/>
                <a:gd name="connsiteX27" fmla="*/ 38580 w 495300"/>
                <a:gd name="connsiteY27" fmla="*/ 295896 h 533400"/>
                <a:gd name="connsiteX28" fmla="*/ 238605 w 495300"/>
                <a:gd name="connsiteY28" fmla="*/ 295896 h 533400"/>
                <a:gd name="connsiteX29" fmla="*/ 238605 w 495300"/>
                <a:gd name="connsiteY29" fmla="*/ 162546 h 533400"/>
                <a:gd name="connsiteX30" fmla="*/ 95730 w 495300"/>
                <a:gd name="connsiteY30" fmla="*/ 162546 h 533400"/>
                <a:gd name="connsiteX31" fmla="*/ 95730 w 495300"/>
                <a:gd name="connsiteY31" fmla="*/ 621 h 533400"/>
                <a:gd name="connsiteX32" fmla="*/ 400530 w 495300"/>
                <a:gd name="connsiteY32" fmla="*/ 621 h 533400"/>
                <a:gd name="connsiteX33" fmla="*/ 76680 w 495300"/>
                <a:gd name="connsiteY33" fmla="*/ 457821 h 533400"/>
                <a:gd name="connsiteX34" fmla="*/ 19530 w 495300"/>
                <a:gd name="connsiteY34" fmla="*/ 457821 h 533400"/>
                <a:gd name="connsiteX35" fmla="*/ 19530 w 495300"/>
                <a:gd name="connsiteY35" fmla="*/ 514971 h 533400"/>
                <a:gd name="connsiteX36" fmla="*/ 76680 w 495300"/>
                <a:gd name="connsiteY36" fmla="*/ 514971 h 533400"/>
                <a:gd name="connsiteX37" fmla="*/ 76680 w 495300"/>
                <a:gd name="connsiteY37" fmla="*/ 457821 h 533400"/>
                <a:gd name="connsiteX38" fmla="*/ 276705 w 495300"/>
                <a:gd name="connsiteY38" fmla="*/ 457821 h 533400"/>
                <a:gd name="connsiteX39" fmla="*/ 219555 w 495300"/>
                <a:gd name="connsiteY39" fmla="*/ 457821 h 533400"/>
                <a:gd name="connsiteX40" fmla="*/ 219555 w 495300"/>
                <a:gd name="connsiteY40" fmla="*/ 514971 h 533400"/>
                <a:gd name="connsiteX41" fmla="*/ 276705 w 495300"/>
                <a:gd name="connsiteY41" fmla="*/ 514971 h 533400"/>
                <a:gd name="connsiteX42" fmla="*/ 276705 w 495300"/>
                <a:gd name="connsiteY42" fmla="*/ 457821 h 533400"/>
                <a:gd name="connsiteX43" fmla="*/ 476730 w 495300"/>
                <a:gd name="connsiteY43" fmla="*/ 457821 h 533400"/>
                <a:gd name="connsiteX44" fmla="*/ 419580 w 495300"/>
                <a:gd name="connsiteY44" fmla="*/ 457821 h 533400"/>
                <a:gd name="connsiteX45" fmla="*/ 419580 w 495300"/>
                <a:gd name="connsiteY45" fmla="*/ 514971 h 533400"/>
                <a:gd name="connsiteX46" fmla="*/ 476730 w 495300"/>
                <a:gd name="connsiteY46" fmla="*/ 514971 h 533400"/>
                <a:gd name="connsiteX47" fmla="*/ 476730 w 495300"/>
                <a:gd name="connsiteY47" fmla="*/ 457821 h 533400"/>
                <a:gd name="connsiteX48" fmla="*/ 381480 w 495300"/>
                <a:gd name="connsiteY48" fmla="*/ 19671 h 533400"/>
                <a:gd name="connsiteX49" fmla="*/ 114780 w 495300"/>
                <a:gd name="connsiteY49" fmla="*/ 19671 h 533400"/>
                <a:gd name="connsiteX50" fmla="*/ 114780 w 495300"/>
                <a:gd name="connsiteY50" fmla="*/ 143496 h 533400"/>
                <a:gd name="connsiteX51" fmla="*/ 381480 w 495300"/>
                <a:gd name="connsiteY51" fmla="*/ 143496 h 533400"/>
                <a:gd name="connsiteX52" fmla="*/ 381480 w 495300"/>
                <a:gd name="connsiteY52" fmla="*/ 19671 h 533400"/>
                <a:gd name="connsiteX53" fmla="*/ 157643 w 495300"/>
                <a:gd name="connsiteY53" fmla="*/ 86346 h 533400"/>
                <a:gd name="connsiteX54" fmla="*/ 171930 w 495300"/>
                <a:gd name="connsiteY54" fmla="*/ 100634 h 533400"/>
                <a:gd name="connsiteX55" fmla="*/ 157643 w 495300"/>
                <a:gd name="connsiteY55" fmla="*/ 114921 h 533400"/>
                <a:gd name="connsiteX56" fmla="*/ 143355 w 495300"/>
                <a:gd name="connsiteY56" fmla="*/ 100634 h 533400"/>
                <a:gd name="connsiteX57" fmla="*/ 157643 w 495300"/>
                <a:gd name="connsiteY57" fmla="*/ 8634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300" h="533400">
                  <a:moveTo>
                    <a:pt x="400530" y="621"/>
                  </a:moveTo>
                  <a:lnTo>
                    <a:pt x="400530" y="162546"/>
                  </a:lnTo>
                  <a:lnTo>
                    <a:pt x="257655" y="162546"/>
                  </a:lnTo>
                  <a:lnTo>
                    <a:pt x="257655" y="295896"/>
                  </a:lnTo>
                  <a:lnTo>
                    <a:pt x="457680" y="295896"/>
                  </a:lnTo>
                  <a:lnTo>
                    <a:pt x="457680" y="438771"/>
                  </a:lnTo>
                  <a:lnTo>
                    <a:pt x="495780" y="438771"/>
                  </a:lnTo>
                  <a:lnTo>
                    <a:pt x="495780" y="534021"/>
                  </a:lnTo>
                  <a:lnTo>
                    <a:pt x="400530" y="534021"/>
                  </a:lnTo>
                  <a:lnTo>
                    <a:pt x="400530" y="438771"/>
                  </a:lnTo>
                  <a:lnTo>
                    <a:pt x="438630" y="438771"/>
                  </a:lnTo>
                  <a:lnTo>
                    <a:pt x="438630" y="314946"/>
                  </a:lnTo>
                  <a:lnTo>
                    <a:pt x="257655" y="314946"/>
                  </a:lnTo>
                  <a:lnTo>
                    <a:pt x="257655" y="438771"/>
                  </a:lnTo>
                  <a:lnTo>
                    <a:pt x="295755" y="438771"/>
                  </a:lnTo>
                  <a:lnTo>
                    <a:pt x="295755" y="534021"/>
                  </a:lnTo>
                  <a:lnTo>
                    <a:pt x="200505" y="534021"/>
                  </a:lnTo>
                  <a:lnTo>
                    <a:pt x="200505" y="438771"/>
                  </a:lnTo>
                  <a:lnTo>
                    <a:pt x="238605" y="438771"/>
                  </a:lnTo>
                  <a:lnTo>
                    <a:pt x="238605" y="314946"/>
                  </a:lnTo>
                  <a:lnTo>
                    <a:pt x="57630" y="314946"/>
                  </a:lnTo>
                  <a:lnTo>
                    <a:pt x="57630" y="438771"/>
                  </a:lnTo>
                  <a:lnTo>
                    <a:pt x="95730" y="438771"/>
                  </a:lnTo>
                  <a:lnTo>
                    <a:pt x="95730" y="534021"/>
                  </a:lnTo>
                  <a:lnTo>
                    <a:pt x="480" y="534021"/>
                  </a:lnTo>
                  <a:lnTo>
                    <a:pt x="480" y="438771"/>
                  </a:lnTo>
                  <a:lnTo>
                    <a:pt x="38580" y="438771"/>
                  </a:lnTo>
                  <a:lnTo>
                    <a:pt x="38580" y="295896"/>
                  </a:lnTo>
                  <a:lnTo>
                    <a:pt x="238605" y="295896"/>
                  </a:lnTo>
                  <a:lnTo>
                    <a:pt x="238605" y="162546"/>
                  </a:lnTo>
                  <a:lnTo>
                    <a:pt x="95730" y="162546"/>
                  </a:lnTo>
                  <a:lnTo>
                    <a:pt x="95730" y="621"/>
                  </a:lnTo>
                  <a:lnTo>
                    <a:pt x="400530" y="621"/>
                  </a:lnTo>
                  <a:close/>
                  <a:moveTo>
                    <a:pt x="76680" y="457821"/>
                  </a:moveTo>
                  <a:lnTo>
                    <a:pt x="19530" y="457821"/>
                  </a:lnTo>
                  <a:lnTo>
                    <a:pt x="19530" y="514971"/>
                  </a:lnTo>
                  <a:lnTo>
                    <a:pt x="76680" y="514971"/>
                  </a:lnTo>
                  <a:lnTo>
                    <a:pt x="76680" y="457821"/>
                  </a:lnTo>
                  <a:close/>
                  <a:moveTo>
                    <a:pt x="276705" y="457821"/>
                  </a:moveTo>
                  <a:lnTo>
                    <a:pt x="219555" y="457821"/>
                  </a:lnTo>
                  <a:lnTo>
                    <a:pt x="219555" y="514971"/>
                  </a:lnTo>
                  <a:lnTo>
                    <a:pt x="276705" y="514971"/>
                  </a:lnTo>
                  <a:lnTo>
                    <a:pt x="276705" y="457821"/>
                  </a:lnTo>
                  <a:close/>
                  <a:moveTo>
                    <a:pt x="476730" y="457821"/>
                  </a:moveTo>
                  <a:lnTo>
                    <a:pt x="419580" y="457821"/>
                  </a:lnTo>
                  <a:lnTo>
                    <a:pt x="419580" y="514971"/>
                  </a:lnTo>
                  <a:lnTo>
                    <a:pt x="476730" y="514971"/>
                  </a:lnTo>
                  <a:lnTo>
                    <a:pt x="476730" y="457821"/>
                  </a:lnTo>
                  <a:close/>
                  <a:moveTo>
                    <a:pt x="381480" y="19671"/>
                  </a:moveTo>
                  <a:lnTo>
                    <a:pt x="114780" y="19671"/>
                  </a:lnTo>
                  <a:lnTo>
                    <a:pt x="114780" y="143496"/>
                  </a:lnTo>
                  <a:lnTo>
                    <a:pt x="381480" y="143496"/>
                  </a:lnTo>
                  <a:lnTo>
                    <a:pt x="381480" y="19671"/>
                  </a:lnTo>
                  <a:close/>
                  <a:moveTo>
                    <a:pt x="157643" y="86346"/>
                  </a:moveTo>
                  <a:cubicBezTo>
                    <a:pt x="165262" y="86346"/>
                    <a:pt x="171930" y="93014"/>
                    <a:pt x="171930" y="100634"/>
                  </a:cubicBezTo>
                  <a:cubicBezTo>
                    <a:pt x="171930" y="108254"/>
                    <a:pt x="165262" y="114921"/>
                    <a:pt x="157643" y="114921"/>
                  </a:cubicBezTo>
                  <a:cubicBezTo>
                    <a:pt x="150023" y="114921"/>
                    <a:pt x="143355" y="108254"/>
                    <a:pt x="143355" y="100634"/>
                  </a:cubicBezTo>
                  <a:cubicBezTo>
                    <a:pt x="143355" y="93014"/>
                    <a:pt x="150023" y="86346"/>
                    <a:pt x="157643" y="86346"/>
                  </a:cubicBezTo>
                  <a:close/>
                </a:path>
              </a:pathLst>
            </a:custGeom>
            <a:solidFill>
              <a:schemeClr val="tx2"/>
            </a:solidFill>
            <a:ln w="9525" cap="flat">
              <a:noFill/>
              <a:prstDash val="solid"/>
              <a:miter/>
            </a:ln>
          </p:spPr>
          <p:txBody>
            <a:bodyPr rtlCol="0" anchor="ctr"/>
            <a:lstStyle/>
            <a:p>
              <a:endParaRPr lang="zh-CN" altLang="en-US"/>
            </a:p>
          </p:txBody>
        </p:sp>
        <p:sp>
          <p:nvSpPr>
            <p:cNvPr id="15" name="ïŝḻíḍè">
              <a:extLst>
                <a:ext uri="{FF2B5EF4-FFF2-40B4-BE49-F238E27FC236}">
                  <a16:creationId xmlns:a16="http://schemas.microsoft.com/office/drawing/2014/main" id="{632036AC-6442-45F6-9FE8-20C5BD75CA98}"/>
                </a:ext>
              </a:extLst>
            </p:cNvPr>
            <p:cNvSpPr/>
            <p:nvPr/>
          </p:nvSpPr>
          <p:spPr>
            <a:xfrm>
              <a:off x="5942272" y="3312615"/>
              <a:ext cx="498185" cy="373638"/>
            </a:xfrm>
            <a:custGeom>
              <a:avLst/>
              <a:gdLst>
                <a:gd name="connsiteX0" fmla="*/ 534008 w 533400"/>
                <a:gd name="connsiteY0" fmla="*/ 621 h 400050"/>
                <a:gd name="connsiteX1" fmla="*/ 534008 w 533400"/>
                <a:gd name="connsiteY1" fmla="*/ 400671 h 400050"/>
                <a:gd name="connsiteX2" fmla="*/ 608 w 533400"/>
                <a:gd name="connsiteY2" fmla="*/ 400671 h 400050"/>
                <a:gd name="connsiteX3" fmla="*/ 608 w 533400"/>
                <a:gd name="connsiteY3" fmla="*/ 621 h 400050"/>
                <a:gd name="connsiteX4" fmla="*/ 534008 w 533400"/>
                <a:gd name="connsiteY4" fmla="*/ 621 h 400050"/>
                <a:gd name="connsiteX5" fmla="*/ 375893 w 533400"/>
                <a:gd name="connsiteY5" fmla="*/ 153974 h 400050"/>
                <a:gd name="connsiteX6" fmla="*/ 249211 w 533400"/>
                <a:gd name="connsiteY6" fmla="*/ 319709 h 400050"/>
                <a:gd name="connsiteX7" fmla="*/ 141578 w 533400"/>
                <a:gd name="connsiteY7" fmla="*/ 214934 h 400050"/>
                <a:gd name="connsiteX8" fmla="*/ 20611 w 533400"/>
                <a:gd name="connsiteY8" fmla="*/ 356856 h 400050"/>
                <a:gd name="connsiteX9" fmla="*/ 20611 w 533400"/>
                <a:gd name="connsiteY9" fmla="*/ 382574 h 400050"/>
                <a:gd name="connsiteX10" fmla="*/ 515911 w 533400"/>
                <a:gd name="connsiteY10" fmla="*/ 382574 h 400050"/>
                <a:gd name="connsiteX11" fmla="*/ 515911 w 533400"/>
                <a:gd name="connsiteY11" fmla="*/ 339711 h 400050"/>
                <a:gd name="connsiteX12" fmla="*/ 375893 w 533400"/>
                <a:gd name="connsiteY12" fmla="*/ 153974 h 400050"/>
                <a:gd name="connsiteX13" fmla="*/ 514958 w 533400"/>
                <a:gd name="connsiteY13" fmla="*/ 19671 h 400050"/>
                <a:gd name="connsiteX14" fmla="*/ 19658 w 533400"/>
                <a:gd name="connsiteY14" fmla="*/ 19671 h 400050"/>
                <a:gd name="connsiteX15" fmla="*/ 19658 w 533400"/>
                <a:gd name="connsiteY15" fmla="*/ 327329 h 400050"/>
                <a:gd name="connsiteX16" fmla="*/ 138721 w 533400"/>
                <a:gd name="connsiteY16" fmla="*/ 187311 h 400050"/>
                <a:gd name="connsiteX17" fmla="*/ 246353 w 533400"/>
                <a:gd name="connsiteY17" fmla="*/ 292086 h 400050"/>
                <a:gd name="connsiteX18" fmla="*/ 375893 w 533400"/>
                <a:gd name="connsiteY18" fmla="*/ 123494 h 400050"/>
                <a:gd name="connsiteX19" fmla="*/ 514958 w 533400"/>
                <a:gd name="connsiteY19" fmla="*/ 308279 h 400050"/>
                <a:gd name="connsiteX20" fmla="*/ 514958 w 533400"/>
                <a:gd name="connsiteY20" fmla="*/ 19671 h 400050"/>
                <a:gd name="connsiteX21" fmla="*/ 95858 w 533400"/>
                <a:gd name="connsiteY21" fmla="*/ 48246 h 400050"/>
                <a:gd name="connsiteX22" fmla="*/ 143483 w 533400"/>
                <a:gd name="connsiteY22" fmla="*/ 95871 h 400050"/>
                <a:gd name="connsiteX23" fmla="*/ 95858 w 533400"/>
                <a:gd name="connsiteY23" fmla="*/ 143496 h 400050"/>
                <a:gd name="connsiteX24" fmla="*/ 48233 w 533400"/>
                <a:gd name="connsiteY24" fmla="*/ 95871 h 400050"/>
                <a:gd name="connsiteX25" fmla="*/ 95858 w 533400"/>
                <a:gd name="connsiteY25" fmla="*/ 48246 h 400050"/>
                <a:gd name="connsiteX26" fmla="*/ 95858 w 533400"/>
                <a:gd name="connsiteY26" fmla="*/ 67296 h 400050"/>
                <a:gd name="connsiteX27" fmla="*/ 67283 w 533400"/>
                <a:gd name="connsiteY27" fmla="*/ 95871 h 400050"/>
                <a:gd name="connsiteX28" fmla="*/ 95858 w 533400"/>
                <a:gd name="connsiteY28" fmla="*/ 124446 h 400050"/>
                <a:gd name="connsiteX29" fmla="*/ 124433 w 533400"/>
                <a:gd name="connsiteY29" fmla="*/ 95871 h 400050"/>
                <a:gd name="connsiteX30" fmla="*/ 95858 w 533400"/>
                <a:gd name="connsiteY30" fmla="*/ 6729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33400" h="400050">
                  <a:moveTo>
                    <a:pt x="534008" y="621"/>
                  </a:moveTo>
                  <a:lnTo>
                    <a:pt x="534008" y="400671"/>
                  </a:lnTo>
                  <a:lnTo>
                    <a:pt x="608" y="400671"/>
                  </a:lnTo>
                  <a:lnTo>
                    <a:pt x="608" y="621"/>
                  </a:lnTo>
                  <a:lnTo>
                    <a:pt x="534008" y="621"/>
                  </a:lnTo>
                  <a:close/>
                  <a:moveTo>
                    <a:pt x="375893" y="153974"/>
                  </a:moveTo>
                  <a:lnTo>
                    <a:pt x="249211" y="319709"/>
                  </a:lnTo>
                  <a:lnTo>
                    <a:pt x="141578" y="214934"/>
                  </a:lnTo>
                  <a:lnTo>
                    <a:pt x="20611" y="356856"/>
                  </a:lnTo>
                  <a:lnTo>
                    <a:pt x="20611" y="382574"/>
                  </a:lnTo>
                  <a:lnTo>
                    <a:pt x="515911" y="382574"/>
                  </a:lnTo>
                  <a:lnTo>
                    <a:pt x="515911" y="339711"/>
                  </a:lnTo>
                  <a:lnTo>
                    <a:pt x="375893" y="153974"/>
                  </a:lnTo>
                  <a:close/>
                  <a:moveTo>
                    <a:pt x="514958" y="19671"/>
                  </a:moveTo>
                  <a:lnTo>
                    <a:pt x="19658" y="19671"/>
                  </a:lnTo>
                  <a:lnTo>
                    <a:pt x="19658" y="327329"/>
                  </a:lnTo>
                  <a:lnTo>
                    <a:pt x="138721" y="187311"/>
                  </a:lnTo>
                  <a:lnTo>
                    <a:pt x="246353" y="292086"/>
                  </a:lnTo>
                  <a:lnTo>
                    <a:pt x="375893" y="123494"/>
                  </a:lnTo>
                  <a:lnTo>
                    <a:pt x="514958" y="308279"/>
                  </a:lnTo>
                  <a:lnTo>
                    <a:pt x="514958" y="19671"/>
                  </a:lnTo>
                  <a:close/>
                  <a:moveTo>
                    <a:pt x="95858" y="48246"/>
                  </a:moveTo>
                  <a:cubicBezTo>
                    <a:pt x="122528" y="48246"/>
                    <a:pt x="143483" y="69201"/>
                    <a:pt x="143483" y="95871"/>
                  </a:cubicBezTo>
                  <a:cubicBezTo>
                    <a:pt x="143483" y="122541"/>
                    <a:pt x="122528" y="143496"/>
                    <a:pt x="95858" y="143496"/>
                  </a:cubicBezTo>
                  <a:cubicBezTo>
                    <a:pt x="69188" y="143496"/>
                    <a:pt x="48233" y="122541"/>
                    <a:pt x="48233" y="95871"/>
                  </a:cubicBezTo>
                  <a:cubicBezTo>
                    <a:pt x="48233" y="69201"/>
                    <a:pt x="69188" y="48246"/>
                    <a:pt x="95858" y="48246"/>
                  </a:cubicBezTo>
                  <a:close/>
                  <a:moveTo>
                    <a:pt x="95858" y="67296"/>
                  </a:moveTo>
                  <a:cubicBezTo>
                    <a:pt x="79665" y="67296"/>
                    <a:pt x="67283" y="79679"/>
                    <a:pt x="67283" y="95871"/>
                  </a:cubicBezTo>
                  <a:cubicBezTo>
                    <a:pt x="67283" y="112064"/>
                    <a:pt x="79665" y="124446"/>
                    <a:pt x="95858" y="124446"/>
                  </a:cubicBezTo>
                  <a:cubicBezTo>
                    <a:pt x="112051" y="124446"/>
                    <a:pt x="124433" y="112064"/>
                    <a:pt x="124433" y="95871"/>
                  </a:cubicBezTo>
                  <a:cubicBezTo>
                    <a:pt x="124433" y="79679"/>
                    <a:pt x="112051" y="67296"/>
                    <a:pt x="95858" y="67296"/>
                  </a:cubicBezTo>
                  <a:close/>
                </a:path>
              </a:pathLst>
            </a:custGeom>
            <a:solidFill>
              <a:schemeClr val="accent1"/>
            </a:solidFill>
            <a:ln w="9525" cap="flat">
              <a:noFill/>
              <a:prstDash val="solid"/>
              <a:miter/>
            </a:ln>
          </p:spPr>
          <p:txBody>
            <a:bodyPr rtlCol="0" anchor="ctr"/>
            <a:lstStyle/>
            <a:p>
              <a:endParaRPr lang="zh-CN" altLang="en-US"/>
            </a:p>
          </p:txBody>
        </p:sp>
        <p:sp>
          <p:nvSpPr>
            <p:cNvPr id="18" name="iśľíde">
              <a:extLst>
                <a:ext uri="{FF2B5EF4-FFF2-40B4-BE49-F238E27FC236}">
                  <a16:creationId xmlns:a16="http://schemas.microsoft.com/office/drawing/2014/main" id="{E237A457-DF01-4AB6-8B7F-A97E10DDEE5F}"/>
                </a:ext>
              </a:extLst>
            </p:cNvPr>
            <p:cNvSpPr/>
            <p:nvPr/>
          </p:nvSpPr>
          <p:spPr>
            <a:xfrm>
              <a:off x="3029064" y="4453819"/>
              <a:ext cx="1847737" cy="397457"/>
            </a:xfrm>
            <a:prstGeom prst="rect">
              <a:avLst/>
            </a:prstGeom>
            <a:noFill/>
            <a:ln>
              <a:noFill/>
            </a:ln>
          </p:spPr>
          <p:txBody>
            <a:bodyPr wrap="square" lIns="91440" tIns="45720" rIns="91440" bIns="45720" anchor="b" anchorCtr="0">
              <a:normAutofit fontScale="85000" lnSpcReduction="20000"/>
            </a:bodyPr>
            <a:lstStyle/>
            <a:p>
              <a:pPr marR="0" lvl="0" algn="ctr" defTabSz="914400" eaLnBrk="1" fontAlgn="auto" latinLnBrk="0" hangingPunct="1">
                <a:spcBef>
                  <a:spcPts val="0"/>
                </a:spcBef>
                <a:spcAft>
                  <a:spcPts val="0"/>
                </a:spcAft>
                <a:buClrTx/>
                <a:buSzTx/>
                <a:defRPr/>
              </a:pPr>
              <a:r>
                <a:rPr lang="en-US" altLang="zh-CN" sz="2800" b="1" dirty="0" smtClean="0"/>
                <a:t>Account</a:t>
              </a:r>
              <a:endParaRPr lang="en-US" altLang="zh-CN" sz="2800" b="1" dirty="0"/>
            </a:p>
          </p:txBody>
        </p:sp>
        <p:sp>
          <p:nvSpPr>
            <p:cNvPr id="19" name="ísľiďé">
              <a:extLst>
                <a:ext uri="{FF2B5EF4-FFF2-40B4-BE49-F238E27FC236}">
                  <a16:creationId xmlns:a16="http://schemas.microsoft.com/office/drawing/2014/main" id="{E4A95E1E-3B53-43B3-A6C1-2A99707CF567}"/>
                </a:ext>
              </a:extLst>
            </p:cNvPr>
            <p:cNvSpPr/>
            <p:nvPr/>
          </p:nvSpPr>
          <p:spPr>
            <a:xfrm>
              <a:off x="3029064" y="4911666"/>
              <a:ext cx="1847737" cy="774601"/>
            </a:xfrm>
            <a:prstGeom prst="rect">
              <a:avLst/>
            </a:prstGeom>
            <a:ln>
              <a:noFill/>
            </a:ln>
          </p:spPr>
          <p:txBody>
            <a:bodyPr wrap="square" lIns="91440" tIns="45720" rIns="91440" bIns="45720" anchor="t">
              <a:noAutofit/>
            </a:bodyPr>
            <a:lstStyle/>
            <a:p>
              <a:pPr lvl="0" algn="ctr">
                <a:lnSpc>
                  <a:spcPct val="120000"/>
                </a:lnSpc>
                <a:defRPr/>
              </a:pPr>
              <a:r>
                <a:rPr lang="zh-CN" altLang="en-US" dirty="0" smtClean="0">
                  <a:solidFill>
                    <a:schemeClr val="bg1">
                      <a:lumMod val="50000"/>
                    </a:schemeClr>
                  </a:solidFill>
                </a:rPr>
                <a:t>用户</a:t>
              </a:r>
              <a:r>
                <a:rPr lang="en-US" altLang="zh-CN" dirty="0" smtClean="0">
                  <a:solidFill>
                    <a:schemeClr val="bg1">
                      <a:lumMod val="50000"/>
                    </a:schemeClr>
                  </a:solidFill>
                </a:rPr>
                <a:t>API</a:t>
              </a:r>
              <a:endParaRPr lang="en-US" altLang="zh-CN" dirty="0">
                <a:solidFill>
                  <a:schemeClr val="bg1">
                    <a:lumMod val="50000"/>
                  </a:schemeClr>
                </a:solidFill>
              </a:endParaRPr>
            </a:p>
          </p:txBody>
        </p:sp>
        <p:sp>
          <p:nvSpPr>
            <p:cNvPr id="20" name="ïS1íḍe">
              <a:extLst>
                <a:ext uri="{FF2B5EF4-FFF2-40B4-BE49-F238E27FC236}">
                  <a16:creationId xmlns:a16="http://schemas.microsoft.com/office/drawing/2014/main" id="{9D225601-2957-4C31-AFA2-E960C13242BD}"/>
                </a:ext>
              </a:extLst>
            </p:cNvPr>
            <p:cNvSpPr/>
            <p:nvPr/>
          </p:nvSpPr>
          <p:spPr>
            <a:xfrm>
              <a:off x="5267496" y="3884404"/>
              <a:ext cx="1847737" cy="397457"/>
            </a:xfrm>
            <a:prstGeom prst="rect">
              <a:avLst/>
            </a:prstGeom>
            <a:noFill/>
            <a:ln>
              <a:noFill/>
            </a:ln>
          </p:spPr>
          <p:txBody>
            <a:bodyPr wrap="square" lIns="91440" tIns="45720" rIns="91440" bIns="45720" anchor="b" anchorCtr="0">
              <a:normAutofit fontScale="85000" lnSpcReduction="20000"/>
            </a:bodyPr>
            <a:lstStyle/>
            <a:p>
              <a:pPr marR="0" lvl="0" algn="ctr" defTabSz="914400" eaLnBrk="1" fontAlgn="auto" latinLnBrk="0" hangingPunct="1">
                <a:spcBef>
                  <a:spcPts val="0"/>
                </a:spcBef>
                <a:spcAft>
                  <a:spcPts val="0"/>
                </a:spcAft>
                <a:buClrTx/>
                <a:buSzTx/>
                <a:defRPr/>
              </a:pPr>
              <a:r>
                <a:rPr lang="en-US" altLang="zh-CN" sz="2800" b="1" dirty="0" smtClean="0"/>
                <a:t>Picture</a:t>
              </a:r>
              <a:endParaRPr lang="en-US" altLang="zh-CN" sz="2800" b="1" dirty="0"/>
            </a:p>
          </p:txBody>
        </p:sp>
        <p:sp>
          <p:nvSpPr>
            <p:cNvPr id="21" name="îsḷíḍê">
              <a:extLst>
                <a:ext uri="{FF2B5EF4-FFF2-40B4-BE49-F238E27FC236}">
                  <a16:creationId xmlns:a16="http://schemas.microsoft.com/office/drawing/2014/main" id="{5F6E4FC1-B880-4AE3-8E1E-98096555427E}"/>
                </a:ext>
              </a:extLst>
            </p:cNvPr>
            <p:cNvSpPr/>
            <p:nvPr/>
          </p:nvSpPr>
          <p:spPr>
            <a:xfrm>
              <a:off x="5267496" y="4342251"/>
              <a:ext cx="1847737" cy="774601"/>
            </a:xfrm>
            <a:prstGeom prst="rect">
              <a:avLst/>
            </a:prstGeom>
            <a:ln>
              <a:noFill/>
            </a:ln>
          </p:spPr>
          <p:txBody>
            <a:bodyPr wrap="square" lIns="91440" tIns="45720" rIns="91440" bIns="45720" anchor="t">
              <a:noAutofit/>
            </a:bodyPr>
            <a:lstStyle/>
            <a:p>
              <a:pPr lvl="0" algn="ctr">
                <a:lnSpc>
                  <a:spcPct val="120000"/>
                </a:lnSpc>
                <a:defRPr/>
              </a:pPr>
              <a:r>
                <a:rPr lang="zh-CN" altLang="en-US" dirty="0" smtClean="0">
                  <a:solidFill>
                    <a:schemeClr val="bg1">
                      <a:lumMod val="50000"/>
                    </a:schemeClr>
                  </a:solidFill>
                </a:rPr>
                <a:t>图片</a:t>
              </a:r>
              <a:r>
                <a:rPr lang="en-US" altLang="zh-CN" dirty="0" smtClean="0">
                  <a:solidFill>
                    <a:schemeClr val="bg1">
                      <a:lumMod val="50000"/>
                    </a:schemeClr>
                  </a:solidFill>
                </a:rPr>
                <a:t>API</a:t>
              </a:r>
              <a:endParaRPr lang="en-US" altLang="zh-CN" sz="1100" dirty="0">
                <a:solidFill>
                  <a:schemeClr val="bg1">
                    <a:lumMod val="50000"/>
                  </a:schemeClr>
                </a:solidFill>
              </a:endParaRPr>
            </a:p>
          </p:txBody>
        </p:sp>
        <p:sp>
          <p:nvSpPr>
            <p:cNvPr id="22" name="iṥľiḑe">
              <a:extLst>
                <a:ext uri="{FF2B5EF4-FFF2-40B4-BE49-F238E27FC236}">
                  <a16:creationId xmlns:a16="http://schemas.microsoft.com/office/drawing/2014/main" id="{34AE638C-D9EE-4815-B963-908C203AE70D}"/>
                </a:ext>
              </a:extLst>
            </p:cNvPr>
            <p:cNvSpPr/>
            <p:nvPr/>
          </p:nvSpPr>
          <p:spPr>
            <a:xfrm>
              <a:off x="7505928" y="3361619"/>
              <a:ext cx="1847737" cy="397457"/>
            </a:xfrm>
            <a:prstGeom prst="rect">
              <a:avLst/>
            </a:prstGeom>
            <a:noFill/>
            <a:ln>
              <a:noFill/>
            </a:ln>
          </p:spPr>
          <p:txBody>
            <a:bodyPr wrap="square" lIns="91440" tIns="45720" rIns="91440" bIns="45720" anchor="b" anchorCtr="0">
              <a:normAutofit fontScale="85000" lnSpcReduction="20000"/>
            </a:bodyPr>
            <a:lstStyle/>
            <a:p>
              <a:pPr marR="0" lvl="0" algn="ctr" defTabSz="914400" eaLnBrk="1" fontAlgn="auto" latinLnBrk="0" hangingPunct="1">
                <a:spcBef>
                  <a:spcPts val="0"/>
                </a:spcBef>
                <a:spcAft>
                  <a:spcPts val="0"/>
                </a:spcAft>
                <a:buClrTx/>
                <a:buSzTx/>
                <a:defRPr/>
              </a:pPr>
              <a:r>
                <a:rPr lang="en-US" altLang="zh-CN" sz="2800" b="1" dirty="0" smtClean="0"/>
                <a:t>Wallet</a:t>
              </a:r>
              <a:endParaRPr lang="en-US" altLang="zh-CN" sz="2800" b="1" dirty="0"/>
            </a:p>
          </p:txBody>
        </p:sp>
        <p:sp>
          <p:nvSpPr>
            <p:cNvPr id="23" name="îṧľiďe">
              <a:extLst>
                <a:ext uri="{FF2B5EF4-FFF2-40B4-BE49-F238E27FC236}">
                  <a16:creationId xmlns:a16="http://schemas.microsoft.com/office/drawing/2014/main" id="{2339A672-6CA4-45BF-9EAA-FA3429E020CD}"/>
                </a:ext>
              </a:extLst>
            </p:cNvPr>
            <p:cNvSpPr/>
            <p:nvPr/>
          </p:nvSpPr>
          <p:spPr>
            <a:xfrm>
              <a:off x="7505928" y="3819466"/>
              <a:ext cx="1847737" cy="1297386"/>
            </a:xfrm>
            <a:prstGeom prst="rect">
              <a:avLst/>
            </a:prstGeom>
            <a:ln>
              <a:noFill/>
            </a:ln>
          </p:spPr>
          <p:txBody>
            <a:bodyPr wrap="square" lIns="91440" tIns="45720" rIns="91440" bIns="45720" anchor="t">
              <a:noAutofit/>
            </a:bodyPr>
            <a:lstStyle/>
            <a:p>
              <a:pPr lvl="0" algn="ctr">
                <a:lnSpc>
                  <a:spcPct val="120000"/>
                </a:lnSpc>
                <a:defRPr/>
              </a:pPr>
              <a:r>
                <a:rPr lang="zh-CN" altLang="en-US" dirty="0" smtClean="0">
                  <a:solidFill>
                    <a:schemeClr val="bg1">
                      <a:lumMod val="50000"/>
                    </a:schemeClr>
                  </a:solidFill>
                </a:rPr>
                <a:t>钱包</a:t>
              </a:r>
              <a:r>
                <a:rPr lang="en-US" altLang="zh-CN" dirty="0" smtClean="0">
                  <a:solidFill>
                    <a:schemeClr val="bg1">
                      <a:lumMod val="50000"/>
                    </a:schemeClr>
                  </a:solidFill>
                </a:rPr>
                <a:t>API</a:t>
              </a:r>
              <a:endParaRPr lang="en-US" altLang="zh-CN" dirty="0">
                <a:solidFill>
                  <a:schemeClr val="bg1">
                    <a:lumMod val="50000"/>
                  </a:schemeClr>
                </a:solidFill>
              </a:endParaRPr>
            </a:p>
          </p:txBody>
        </p:sp>
        <p:sp>
          <p:nvSpPr>
            <p:cNvPr id="24" name="íṩļïdè">
              <a:extLst>
                <a:ext uri="{FF2B5EF4-FFF2-40B4-BE49-F238E27FC236}">
                  <a16:creationId xmlns:a16="http://schemas.microsoft.com/office/drawing/2014/main" id="{393F9A45-8C0E-4D8A-8D86-CC4F20D7C479}"/>
                </a:ext>
              </a:extLst>
            </p:cNvPr>
            <p:cNvSpPr/>
            <p:nvPr/>
          </p:nvSpPr>
          <p:spPr>
            <a:xfrm>
              <a:off x="9744360" y="2792204"/>
              <a:ext cx="1847737" cy="397457"/>
            </a:xfrm>
            <a:prstGeom prst="rect">
              <a:avLst/>
            </a:prstGeom>
            <a:noFill/>
            <a:ln>
              <a:noFill/>
            </a:ln>
          </p:spPr>
          <p:txBody>
            <a:bodyPr wrap="square" lIns="91440" tIns="45720" rIns="91440" bIns="45720" anchor="b" anchorCtr="0">
              <a:normAutofit fontScale="85000" lnSpcReduction="20000"/>
            </a:bodyPr>
            <a:lstStyle/>
            <a:p>
              <a:pPr marR="0" lvl="0" algn="ctr" defTabSz="914400" eaLnBrk="1" fontAlgn="auto" latinLnBrk="0" hangingPunct="1">
                <a:spcBef>
                  <a:spcPts val="0"/>
                </a:spcBef>
                <a:spcAft>
                  <a:spcPts val="0"/>
                </a:spcAft>
                <a:buClrTx/>
                <a:buSzTx/>
                <a:defRPr/>
              </a:pPr>
              <a:r>
                <a:rPr lang="en-US" altLang="zh-CN" sz="2800" b="1" dirty="0"/>
                <a:t>AI</a:t>
              </a:r>
              <a:endParaRPr lang="en-US" altLang="zh-CN" sz="2800" b="1" dirty="0"/>
            </a:p>
          </p:txBody>
        </p:sp>
        <p:sp>
          <p:nvSpPr>
            <p:cNvPr id="25" name="ïşļíďé">
              <a:extLst>
                <a:ext uri="{FF2B5EF4-FFF2-40B4-BE49-F238E27FC236}">
                  <a16:creationId xmlns:a16="http://schemas.microsoft.com/office/drawing/2014/main" id="{F3869FCB-16C5-49F7-BFAA-FD317038C3BB}"/>
                </a:ext>
              </a:extLst>
            </p:cNvPr>
            <p:cNvSpPr/>
            <p:nvPr/>
          </p:nvSpPr>
          <p:spPr>
            <a:xfrm>
              <a:off x="9744360" y="3250051"/>
              <a:ext cx="1847737" cy="1203768"/>
            </a:xfrm>
            <a:prstGeom prst="rect">
              <a:avLst/>
            </a:prstGeom>
            <a:ln>
              <a:noFill/>
            </a:ln>
          </p:spPr>
          <p:txBody>
            <a:bodyPr wrap="square" lIns="91440" tIns="45720" rIns="91440" bIns="45720" anchor="t">
              <a:noAutofit/>
            </a:bodyPr>
            <a:lstStyle/>
            <a:p>
              <a:pPr lvl="0" algn="ctr">
                <a:lnSpc>
                  <a:spcPct val="120000"/>
                </a:lnSpc>
                <a:defRPr/>
              </a:pPr>
              <a:r>
                <a:rPr lang="zh-CN" altLang="en-US" dirty="0" smtClean="0">
                  <a:solidFill>
                    <a:schemeClr val="bg1">
                      <a:lumMod val="50000"/>
                    </a:schemeClr>
                  </a:solidFill>
                </a:rPr>
                <a:t>图片识别服务</a:t>
              </a:r>
              <a:endParaRPr lang="en-US" altLang="zh-CN" dirty="0">
                <a:solidFill>
                  <a:schemeClr val="bg1">
                    <a:lumMod val="50000"/>
                  </a:schemeClr>
                </a:solidFill>
              </a:endParaRPr>
            </a:p>
          </p:txBody>
        </p:sp>
        <p:sp>
          <p:nvSpPr>
            <p:cNvPr id="26" name="ïṡḻîďe">
              <a:extLst>
                <a:ext uri="{FF2B5EF4-FFF2-40B4-BE49-F238E27FC236}">
                  <a16:creationId xmlns:a16="http://schemas.microsoft.com/office/drawing/2014/main" id="{010BB198-3F69-4AC1-95A8-C0BF9DA80C20}"/>
                </a:ext>
              </a:extLst>
            </p:cNvPr>
            <p:cNvSpPr txBox="1"/>
            <p:nvPr/>
          </p:nvSpPr>
          <p:spPr>
            <a:xfrm>
              <a:off x="660400" y="1143126"/>
              <a:ext cx="6454833" cy="646331"/>
            </a:xfrm>
            <a:prstGeom prst="rect">
              <a:avLst/>
            </a:prstGeom>
            <a:noFill/>
          </p:spPr>
          <p:txBody>
            <a:bodyPr wrap="square" rtlCol="0">
              <a:spAutoFit/>
            </a:bodyPr>
            <a:lstStyle/>
            <a:p>
              <a:endParaRPr lang="en-US" altLang="zh-CN" sz="3600" b="1" dirty="0">
                <a:solidFill>
                  <a:srgbClr val="FF0000"/>
                </a:solidFill>
              </a:endParaRPr>
            </a:p>
          </p:txBody>
        </p:sp>
      </p:grpSp>
      <p:sp>
        <p:nvSpPr>
          <p:cNvPr id="30" name="iconfont-11260-5327124"/>
          <p:cNvSpPr>
            <a:spLocks noChangeAspect="1"/>
          </p:cNvSpPr>
          <p:nvPr/>
        </p:nvSpPr>
        <p:spPr bwMode="auto">
          <a:xfrm>
            <a:off x="8012215" y="2354712"/>
            <a:ext cx="565325" cy="577177"/>
          </a:xfrm>
          <a:custGeom>
            <a:avLst/>
            <a:gdLst>
              <a:gd name="connsiteX0" fmla="*/ 475367 w 607313"/>
              <a:gd name="connsiteY0" fmla="*/ 371165 h 570070"/>
              <a:gd name="connsiteX1" fmla="*/ 486423 w 607313"/>
              <a:gd name="connsiteY1" fmla="*/ 382176 h 570070"/>
              <a:gd name="connsiteX2" fmla="*/ 475367 w 607313"/>
              <a:gd name="connsiteY2" fmla="*/ 393234 h 570070"/>
              <a:gd name="connsiteX3" fmla="*/ 464359 w 607313"/>
              <a:gd name="connsiteY3" fmla="*/ 382176 h 570070"/>
              <a:gd name="connsiteX4" fmla="*/ 475367 w 607313"/>
              <a:gd name="connsiteY4" fmla="*/ 371165 h 570070"/>
              <a:gd name="connsiteX5" fmla="*/ 436505 w 607313"/>
              <a:gd name="connsiteY5" fmla="*/ 351461 h 570070"/>
              <a:gd name="connsiteX6" fmla="*/ 436505 w 607313"/>
              <a:gd name="connsiteY6" fmla="*/ 417854 h 570070"/>
              <a:gd name="connsiteX7" fmla="*/ 589189 w 607313"/>
              <a:gd name="connsiteY7" fmla="*/ 417854 h 570070"/>
              <a:gd name="connsiteX8" fmla="*/ 589189 w 607313"/>
              <a:gd name="connsiteY8" fmla="*/ 351461 h 570070"/>
              <a:gd name="connsiteX9" fmla="*/ 427490 w 607313"/>
              <a:gd name="connsiteY9" fmla="*/ 333428 h 570070"/>
              <a:gd name="connsiteX10" fmla="*/ 557299 w 607313"/>
              <a:gd name="connsiteY10" fmla="*/ 333428 h 570070"/>
              <a:gd name="connsiteX11" fmla="*/ 557299 w 607313"/>
              <a:gd name="connsiteY11" fmla="*/ 344273 h 570070"/>
              <a:gd name="connsiteX12" fmla="*/ 575327 w 607313"/>
              <a:gd name="connsiteY12" fmla="*/ 344273 h 570070"/>
              <a:gd name="connsiteX13" fmla="*/ 575327 w 607313"/>
              <a:gd name="connsiteY13" fmla="*/ 333428 h 570070"/>
              <a:gd name="connsiteX14" fmla="*/ 598251 w 607313"/>
              <a:gd name="connsiteY14" fmla="*/ 333428 h 570070"/>
              <a:gd name="connsiteX15" fmla="*/ 607313 w 607313"/>
              <a:gd name="connsiteY15" fmla="*/ 342444 h 570070"/>
              <a:gd name="connsiteX16" fmla="*/ 607313 w 607313"/>
              <a:gd name="connsiteY16" fmla="*/ 426918 h 570070"/>
              <a:gd name="connsiteX17" fmla="*/ 598251 w 607313"/>
              <a:gd name="connsiteY17" fmla="*/ 435935 h 570070"/>
              <a:gd name="connsiteX18" fmla="*/ 581020 w 607313"/>
              <a:gd name="connsiteY18" fmla="*/ 435935 h 570070"/>
              <a:gd name="connsiteX19" fmla="*/ 581020 w 607313"/>
              <a:gd name="connsiteY19" fmla="*/ 420298 h 570070"/>
              <a:gd name="connsiteX20" fmla="*/ 562850 w 607313"/>
              <a:gd name="connsiteY20" fmla="*/ 420298 h 570070"/>
              <a:gd name="connsiteX21" fmla="*/ 562850 w 607313"/>
              <a:gd name="connsiteY21" fmla="*/ 435935 h 570070"/>
              <a:gd name="connsiteX22" fmla="*/ 427490 w 607313"/>
              <a:gd name="connsiteY22" fmla="*/ 435935 h 570070"/>
              <a:gd name="connsiteX23" fmla="*/ 418475 w 607313"/>
              <a:gd name="connsiteY23" fmla="*/ 426871 h 570070"/>
              <a:gd name="connsiteX24" fmla="*/ 418475 w 607313"/>
              <a:gd name="connsiteY24" fmla="*/ 342444 h 570070"/>
              <a:gd name="connsiteX25" fmla="*/ 427490 w 607313"/>
              <a:gd name="connsiteY25" fmla="*/ 333428 h 570070"/>
              <a:gd name="connsiteX26" fmla="*/ 459498 w 607313"/>
              <a:gd name="connsiteY26" fmla="*/ 212582 h 570070"/>
              <a:gd name="connsiteX27" fmla="*/ 459821 w 607313"/>
              <a:gd name="connsiteY27" fmla="*/ 212582 h 570070"/>
              <a:gd name="connsiteX28" fmla="*/ 459659 w 607313"/>
              <a:gd name="connsiteY28" fmla="*/ 212744 h 570070"/>
              <a:gd name="connsiteX29" fmla="*/ 478053 w 607313"/>
              <a:gd name="connsiteY29" fmla="*/ 194454 h 570070"/>
              <a:gd name="connsiteX30" fmla="*/ 548190 w 607313"/>
              <a:gd name="connsiteY30" fmla="*/ 194454 h 570070"/>
              <a:gd name="connsiteX31" fmla="*/ 575327 w 607313"/>
              <a:gd name="connsiteY31" fmla="*/ 221599 h 570070"/>
              <a:gd name="connsiteX32" fmla="*/ 575327 w 607313"/>
              <a:gd name="connsiteY32" fmla="*/ 333428 h 570070"/>
              <a:gd name="connsiteX33" fmla="*/ 557299 w 607313"/>
              <a:gd name="connsiteY33" fmla="*/ 333428 h 570070"/>
              <a:gd name="connsiteX34" fmla="*/ 557299 w 607313"/>
              <a:gd name="connsiteY34" fmla="*/ 221599 h 570070"/>
              <a:gd name="connsiteX35" fmla="*/ 548190 w 607313"/>
              <a:gd name="connsiteY35" fmla="*/ 212582 h 570070"/>
              <a:gd name="connsiteX36" fmla="*/ 459821 w 607313"/>
              <a:gd name="connsiteY36" fmla="*/ 212582 h 570070"/>
              <a:gd name="connsiteX37" fmla="*/ 27136 w 607313"/>
              <a:gd name="connsiteY37" fmla="*/ 194454 h 570070"/>
              <a:gd name="connsiteX38" fmla="*/ 122954 w 607313"/>
              <a:gd name="connsiteY38" fmla="*/ 194454 h 570070"/>
              <a:gd name="connsiteX39" fmla="*/ 121581 w 607313"/>
              <a:gd name="connsiteY39" fmla="*/ 197078 h 570070"/>
              <a:gd name="connsiteX40" fmla="*/ 137572 w 607313"/>
              <a:gd name="connsiteY40" fmla="*/ 205478 h 570070"/>
              <a:gd name="connsiteX41" fmla="*/ 143341 w 607313"/>
              <a:gd name="connsiteY41" fmla="*/ 194454 h 570070"/>
              <a:gd name="connsiteX42" fmla="*/ 203235 w 607313"/>
              <a:gd name="connsiteY42" fmla="*/ 194454 h 570070"/>
              <a:gd name="connsiteX43" fmla="*/ 215497 w 607313"/>
              <a:gd name="connsiteY43" fmla="*/ 206764 h 570070"/>
              <a:gd name="connsiteX44" fmla="*/ 227858 w 607313"/>
              <a:gd name="connsiteY44" fmla="*/ 194454 h 570070"/>
              <a:gd name="connsiteX45" fmla="*/ 452412 w 607313"/>
              <a:gd name="connsiteY45" fmla="*/ 194454 h 570070"/>
              <a:gd name="connsiteX46" fmla="*/ 446896 w 607313"/>
              <a:gd name="connsiteY46" fmla="*/ 199930 h 570070"/>
              <a:gd name="connsiteX47" fmla="*/ 459498 w 607313"/>
              <a:gd name="connsiteY47" fmla="*/ 212582 h 570070"/>
              <a:gd name="connsiteX48" fmla="*/ 27136 w 607313"/>
              <a:gd name="connsiteY48" fmla="*/ 212582 h 570070"/>
              <a:gd name="connsiteX49" fmla="*/ 18075 w 607313"/>
              <a:gd name="connsiteY49" fmla="*/ 221599 h 570070"/>
              <a:gd name="connsiteX50" fmla="*/ 18075 w 607313"/>
              <a:gd name="connsiteY50" fmla="*/ 542973 h 570070"/>
              <a:gd name="connsiteX51" fmla="*/ 27136 w 607313"/>
              <a:gd name="connsiteY51" fmla="*/ 551989 h 570070"/>
              <a:gd name="connsiteX52" fmla="*/ 553836 w 607313"/>
              <a:gd name="connsiteY52" fmla="*/ 551989 h 570070"/>
              <a:gd name="connsiteX53" fmla="*/ 562850 w 607313"/>
              <a:gd name="connsiteY53" fmla="*/ 542973 h 570070"/>
              <a:gd name="connsiteX54" fmla="*/ 562850 w 607313"/>
              <a:gd name="connsiteY54" fmla="*/ 435935 h 570070"/>
              <a:gd name="connsiteX55" fmla="*/ 581020 w 607313"/>
              <a:gd name="connsiteY55" fmla="*/ 435935 h 570070"/>
              <a:gd name="connsiteX56" fmla="*/ 581020 w 607313"/>
              <a:gd name="connsiteY56" fmla="*/ 542973 h 570070"/>
              <a:gd name="connsiteX57" fmla="*/ 553836 w 607313"/>
              <a:gd name="connsiteY57" fmla="*/ 570070 h 570070"/>
              <a:gd name="connsiteX58" fmla="*/ 27136 w 607313"/>
              <a:gd name="connsiteY58" fmla="*/ 570070 h 570070"/>
              <a:gd name="connsiteX59" fmla="*/ 0 w 607313"/>
              <a:gd name="connsiteY59" fmla="*/ 542973 h 570070"/>
              <a:gd name="connsiteX60" fmla="*/ 0 w 607313"/>
              <a:gd name="connsiteY60" fmla="*/ 221599 h 570070"/>
              <a:gd name="connsiteX61" fmla="*/ 27136 w 607313"/>
              <a:gd name="connsiteY61" fmla="*/ 194454 h 570070"/>
              <a:gd name="connsiteX62" fmla="*/ 386306 w 607313"/>
              <a:gd name="connsiteY62" fmla="*/ 11146 h 570070"/>
              <a:gd name="connsiteX63" fmla="*/ 399022 w 607313"/>
              <a:gd name="connsiteY63" fmla="*/ 11146 h 570070"/>
              <a:gd name="connsiteX64" fmla="*/ 524139 w 607313"/>
              <a:gd name="connsiteY64" fmla="*/ 135816 h 570070"/>
              <a:gd name="connsiteX65" fmla="*/ 526796 w 607313"/>
              <a:gd name="connsiteY65" fmla="*/ 142223 h 570070"/>
              <a:gd name="connsiteX66" fmla="*/ 524139 w 607313"/>
              <a:gd name="connsiteY66" fmla="*/ 148629 h 570070"/>
              <a:gd name="connsiteX67" fmla="*/ 478053 w 607313"/>
              <a:gd name="connsiteY67" fmla="*/ 194454 h 570070"/>
              <a:gd name="connsiteX68" fmla="*/ 452412 w 607313"/>
              <a:gd name="connsiteY68" fmla="*/ 194454 h 570070"/>
              <a:gd name="connsiteX69" fmla="*/ 504970 w 607313"/>
              <a:gd name="connsiteY69" fmla="*/ 142270 h 570070"/>
              <a:gd name="connsiteX70" fmla="*/ 392711 w 607313"/>
              <a:gd name="connsiteY70" fmla="*/ 30271 h 570070"/>
              <a:gd name="connsiteX71" fmla="*/ 227858 w 607313"/>
              <a:gd name="connsiteY71" fmla="*/ 194454 h 570070"/>
              <a:gd name="connsiteX72" fmla="*/ 203235 w 607313"/>
              <a:gd name="connsiteY72" fmla="*/ 194454 h 570070"/>
              <a:gd name="connsiteX73" fmla="*/ 202734 w 607313"/>
              <a:gd name="connsiteY73" fmla="*/ 193951 h 570070"/>
              <a:gd name="connsiteX74" fmla="*/ 328919 w 607313"/>
              <a:gd name="connsiteY74" fmla="*/ 68293 h 570070"/>
              <a:gd name="connsiteX75" fmla="*/ 339661 w 607313"/>
              <a:gd name="connsiteY75" fmla="*/ 73632 h 570070"/>
              <a:gd name="connsiteX76" fmla="*/ 347727 w 607313"/>
              <a:gd name="connsiteY76" fmla="*/ 57352 h 570070"/>
              <a:gd name="connsiteX77" fmla="*/ 342507 w 607313"/>
              <a:gd name="connsiteY77" fmla="*/ 54761 h 570070"/>
              <a:gd name="connsiteX78" fmla="*/ 234132 w 607313"/>
              <a:gd name="connsiteY78" fmla="*/ 969 h 570070"/>
              <a:gd name="connsiteX79" fmla="*/ 342507 w 607313"/>
              <a:gd name="connsiteY79" fmla="*/ 54761 h 570070"/>
              <a:gd name="connsiteX80" fmla="*/ 328919 w 607313"/>
              <a:gd name="connsiteY80" fmla="*/ 68293 h 570070"/>
              <a:gd name="connsiteX81" fmla="*/ 234037 w 607313"/>
              <a:gd name="connsiteY81" fmla="*/ 21140 h 570070"/>
              <a:gd name="connsiteX82" fmla="*/ 143341 w 607313"/>
              <a:gd name="connsiteY82" fmla="*/ 194454 h 570070"/>
              <a:gd name="connsiteX83" fmla="*/ 122954 w 607313"/>
              <a:gd name="connsiteY83" fmla="*/ 194454 h 570070"/>
              <a:gd name="connsiteX84" fmla="*/ 222128 w 607313"/>
              <a:gd name="connsiteY84" fmla="*/ 4860 h 570070"/>
              <a:gd name="connsiteX85" fmla="*/ 234132 w 607313"/>
              <a:gd name="connsiteY85" fmla="*/ 969 h 570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7313" h="570070">
                <a:moveTo>
                  <a:pt x="475367" y="371165"/>
                </a:moveTo>
                <a:cubicBezTo>
                  <a:pt x="481441" y="371165"/>
                  <a:pt x="486423" y="376053"/>
                  <a:pt x="486423" y="382176"/>
                </a:cubicBezTo>
                <a:cubicBezTo>
                  <a:pt x="486423" y="388298"/>
                  <a:pt x="481488" y="393234"/>
                  <a:pt x="475367" y="393234"/>
                </a:cubicBezTo>
                <a:cubicBezTo>
                  <a:pt x="469246" y="393234"/>
                  <a:pt x="464359" y="388298"/>
                  <a:pt x="464359" y="382176"/>
                </a:cubicBezTo>
                <a:cubicBezTo>
                  <a:pt x="464359" y="376053"/>
                  <a:pt x="469246" y="371165"/>
                  <a:pt x="475367" y="371165"/>
                </a:cubicBezTo>
                <a:close/>
                <a:moveTo>
                  <a:pt x="436505" y="351461"/>
                </a:moveTo>
                <a:lnTo>
                  <a:pt x="436505" y="417854"/>
                </a:lnTo>
                <a:lnTo>
                  <a:pt x="589189" y="417854"/>
                </a:lnTo>
                <a:lnTo>
                  <a:pt x="589189" y="351461"/>
                </a:lnTo>
                <a:close/>
                <a:moveTo>
                  <a:pt x="427490" y="333428"/>
                </a:moveTo>
                <a:lnTo>
                  <a:pt x="557299" y="333428"/>
                </a:lnTo>
                <a:lnTo>
                  <a:pt x="557299" y="344273"/>
                </a:lnTo>
                <a:lnTo>
                  <a:pt x="575327" y="344273"/>
                </a:lnTo>
                <a:lnTo>
                  <a:pt x="575327" y="333428"/>
                </a:lnTo>
                <a:lnTo>
                  <a:pt x="598251" y="333428"/>
                </a:lnTo>
                <a:cubicBezTo>
                  <a:pt x="603233" y="333428"/>
                  <a:pt x="607313" y="337461"/>
                  <a:pt x="607313" y="342444"/>
                </a:cubicBezTo>
                <a:lnTo>
                  <a:pt x="607313" y="426918"/>
                </a:lnTo>
                <a:cubicBezTo>
                  <a:pt x="607313" y="431901"/>
                  <a:pt x="603233" y="435935"/>
                  <a:pt x="598251" y="435935"/>
                </a:cubicBezTo>
                <a:lnTo>
                  <a:pt x="581020" y="435935"/>
                </a:lnTo>
                <a:lnTo>
                  <a:pt x="581020" y="420298"/>
                </a:lnTo>
                <a:lnTo>
                  <a:pt x="562850" y="420298"/>
                </a:lnTo>
                <a:lnTo>
                  <a:pt x="562850" y="435935"/>
                </a:lnTo>
                <a:lnTo>
                  <a:pt x="427490" y="435935"/>
                </a:lnTo>
                <a:cubicBezTo>
                  <a:pt x="422508" y="435935"/>
                  <a:pt x="418475" y="431901"/>
                  <a:pt x="418475" y="426871"/>
                </a:cubicBezTo>
                <a:lnTo>
                  <a:pt x="418475" y="342444"/>
                </a:lnTo>
                <a:cubicBezTo>
                  <a:pt x="418475" y="337461"/>
                  <a:pt x="422508" y="333428"/>
                  <a:pt x="427490" y="333428"/>
                </a:cubicBezTo>
                <a:close/>
                <a:moveTo>
                  <a:pt x="459498" y="212582"/>
                </a:moveTo>
                <a:lnTo>
                  <a:pt x="459821" y="212582"/>
                </a:lnTo>
                <a:lnTo>
                  <a:pt x="459659" y="212744"/>
                </a:lnTo>
                <a:close/>
                <a:moveTo>
                  <a:pt x="478053" y="194454"/>
                </a:moveTo>
                <a:lnTo>
                  <a:pt x="548190" y="194454"/>
                </a:lnTo>
                <a:cubicBezTo>
                  <a:pt x="563135" y="194454"/>
                  <a:pt x="575327" y="206650"/>
                  <a:pt x="575327" y="221599"/>
                </a:cubicBezTo>
                <a:lnTo>
                  <a:pt x="575327" y="333428"/>
                </a:lnTo>
                <a:lnTo>
                  <a:pt x="557299" y="333428"/>
                </a:lnTo>
                <a:lnTo>
                  <a:pt x="557299" y="221599"/>
                </a:lnTo>
                <a:cubicBezTo>
                  <a:pt x="557299" y="216616"/>
                  <a:pt x="553267" y="212582"/>
                  <a:pt x="548190" y="212582"/>
                </a:cubicBezTo>
                <a:lnTo>
                  <a:pt x="459821" y="212582"/>
                </a:lnTo>
                <a:close/>
                <a:moveTo>
                  <a:pt x="27136" y="194454"/>
                </a:moveTo>
                <a:lnTo>
                  <a:pt x="122954" y="194454"/>
                </a:lnTo>
                <a:lnTo>
                  <a:pt x="121581" y="197078"/>
                </a:lnTo>
                <a:lnTo>
                  <a:pt x="137572" y="205478"/>
                </a:lnTo>
                <a:lnTo>
                  <a:pt x="143341" y="194454"/>
                </a:lnTo>
                <a:lnTo>
                  <a:pt x="203235" y="194454"/>
                </a:lnTo>
                <a:lnTo>
                  <a:pt x="215497" y="206764"/>
                </a:lnTo>
                <a:lnTo>
                  <a:pt x="227858" y="194454"/>
                </a:lnTo>
                <a:lnTo>
                  <a:pt x="452412" y="194454"/>
                </a:lnTo>
                <a:lnTo>
                  <a:pt x="446896" y="199930"/>
                </a:lnTo>
                <a:lnTo>
                  <a:pt x="459498" y="212582"/>
                </a:lnTo>
                <a:lnTo>
                  <a:pt x="27136" y="212582"/>
                </a:lnTo>
                <a:cubicBezTo>
                  <a:pt x="22155" y="212582"/>
                  <a:pt x="18075" y="216616"/>
                  <a:pt x="18075" y="221599"/>
                </a:cubicBezTo>
                <a:lnTo>
                  <a:pt x="18075" y="542973"/>
                </a:lnTo>
                <a:cubicBezTo>
                  <a:pt x="18075" y="547955"/>
                  <a:pt x="22108" y="551989"/>
                  <a:pt x="27136" y="551989"/>
                </a:cubicBezTo>
                <a:lnTo>
                  <a:pt x="553836" y="551989"/>
                </a:lnTo>
                <a:cubicBezTo>
                  <a:pt x="558817" y="551989"/>
                  <a:pt x="562850" y="547955"/>
                  <a:pt x="562850" y="542973"/>
                </a:cubicBezTo>
                <a:lnTo>
                  <a:pt x="562850" y="435935"/>
                </a:lnTo>
                <a:lnTo>
                  <a:pt x="581020" y="435935"/>
                </a:lnTo>
                <a:lnTo>
                  <a:pt x="581020" y="542973"/>
                </a:lnTo>
                <a:cubicBezTo>
                  <a:pt x="581020" y="557921"/>
                  <a:pt x="568780" y="570070"/>
                  <a:pt x="553836" y="570070"/>
                </a:cubicBezTo>
                <a:lnTo>
                  <a:pt x="27136" y="570070"/>
                </a:lnTo>
                <a:cubicBezTo>
                  <a:pt x="12192" y="570070"/>
                  <a:pt x="0" y="557921"/>
                  <a:pt x="0" y="542973"/>
                </a:cubicBezTo>
                <a:lnTo>
                  <a:pt x="0" y="221599"/>
                </a:lnTo>
                <a:cubicBezTo>
                  <a:pt x="0" y="206650"/>
                  <a:pt x="12145" y="194454"/>
                  <a:pt x="27136" y="194454"/>
                </a:cubicBezTo>
                <a:close/>
                <a:moveTo>
                  <a:pt x="386306" y="11146"/>
                </a:moveTo>
                <a:cubicBezTo>
                  <a:pt x="389864" y="7634"/>
                  <a:pt x="395558" y="7634"/>
                  <a:pt x="399022" y="11146"/>
                </a:cubicBezTo>
                <a:lnTo>
                  <a:pt x="524139" y="135816"/>
                </a:lnTo>
                <a:cubicBezTo>
                  <a:pt x="525847" y="137524"/>
                  <a:pt x="526796" y="139850"/>
                  <a:pt x="526796" y="142223"/>
                </a:cubicBezTo>
                <a:cubicBezTo>
                  <a:pt x="526796" y="144643"/>
                  <a:pt x="525847" y="146968"/>
                  <a:pt x="524139" y="148629"/>
                </a:cubicBezTo>
                <a:lnTo>
                  <a:pt x="478053" y="194454"/>
                </a:lnTo>
                <a:lnTo>
                  <a:pt x="452412" y="194454"/>
                </a:lnTo>
                <a:lnTo>
                  <a:pt x="504970" y="142270"/>
                </a:lnTo>
                <a:lnTo>
                  <a:pt x="392711" y="30271"/>
                </a:lnTo>
                <a:lnTo>
                  <a:pt x="227858" y="194454"/>
                </a:lnTo>
                <a:lnTo>
                  <a:pt x="203235" y="194454"/>
                </a:lnTo>
                <a:lnTo>
                  <a:pt x="202734" y="193951"/>
                </a:lnTo>
                <a:lnTo>
                  <a:pt x="328919" y="68293"/>
                </a:lnTo>
                <a:lnTo>
                  <a:pt x="339661" y="73632"/>
                </a:lnTo>
                <a:lnTo>
                  <a:pt x="347727" y="57352"/>
                </a:lnTo>
                <a:lnTo>
                  <a:pt x="342507" y="54761"/>
                </a:lnTo>
                <a:close/>
                <a:moveTo>
                  <a:pt x="234132" y="969"/>
                </a:moveTo>
                <a:lnTo>
                  <a:pt x="342507" y="54761"/>
                </a:lnTo>
                <a:lnTo>
                  <a:pt x="328919" y="68293"/>
                </a:lnTo>
                <a:lnTo>
                  <a:pt x="234037" y="21140"/>
                </a:lnTo>
                <a:lnTo>
                  <a:pt x="143341" y="194454"/>
                </a:lnTo>
                <a:lnTo>
                  <a:pt x="122954" y="194454"/>
                </a:lnTo>
                <a:lnTo>
                  <a:pt x="222128" y="4860"/>
                </a:lnTo>
                <a:cubicBezTo>
                  <a:pt x="224405" y="494"/>
                  <a:pt x="229767" y="-1262"/>
                  <a:pt x="234132" y="969"/>
                </a:cubicBezTo>
                <a:close/>
              </a:path>
            </a:pathLst>
          </a:custGeom>
          <a:solidFill>
            <a:schemeClr val="accent1"/>
          </a:solidFill>
          <a:ln>
            <a:solidFill>
              <a:srgbClr val="778495"/>
            </a:solidFill>
          </a:ln>
        </p:spPr>
      </p:sp>
      <p:sp>
        <p:nvSpPr>
          <p:cNvPr id="52" name="ai_136454"/>
          <p:cNvSpPr>
            <a:spLocks noChangeAspect="1"/>
          </p:cNvSpPr>
          <p:nvPr/>
        </p:nvSpPr>
        <p:spPr bwMode="auto">
          <a:xfrm>
            <a:off x="10229393" y="1819619"/>
            <a:ext cx="473988" cy="609685"/>
          </a:xfrm>
          <a:custGeom>
            <a:avLst/>
            <a:gdLst>
              <a:gd name="connsiteX0" fmla="*/ 191485 w 455802"/>
              <a:gd name="connsiteY0" fmla="*/ 469495 h 586292"/>
              <a:gd name="connsiteX1" fmla="*/ 176292 w 455802"/>
              <a:gd name="connsiteY1" fmla="*/ 513478 h 586292"/>
              <a:gd name="connsiteX2" fmla="*/ 206678 w 455802"/>
              <a:gd name="connsiteY2" fmla="*/ 513478 h 586292"/>
              <a:gd name="connsiteX3" fmla="*/ 256716 w 455802"/>
              <a:gd name="connsiteY3" fmla="*/ 444471 h 586292"/>
              <a:gd name="connsiteX4" fmla="*/ 273530 w 455802"/>
              <a:gd name="connsiteY4" fmla="*/ 444471 h 586292"/>
              <a:gd name="connsiteX5" fmla="*/ 273530 w 455802"/>
              <a:gd name="connsiteY5" fmla="*/ 546085 h 586292"/>
              <a:gd name="connsiteX6" fmla="*/ 256716 w 455802"/>
              <a:gd name="connsiteY6" fmla="*/ 546085 h 586292"/>
              <a:gd name="connsiteX7" fmla="*/ 183129 w 455802"/>
              <a:gd name="connsiteY7" fmla="*/ 444471 h 586292"/>
              <a:gd name="connsiteX8" fmla="*/ 199841 w 455802"/>
              <a:gd name="connsiteY8" fmla="*/ 444471 h 586292"/>
              <a:gd name="connsiteX9" fmla="*/ 234785 w 455802"/>
              <a:gd name="connsiteY9" fmla="*/ 546085 h 586292"/>
              <a:gd name="connsiteX10" fmla="*/ 218073 w 455802"/>
              <a:gd name="connsiteY10" fmla="*/ 546085 h 586292"/>
              <a:gd name="connsiteX11" fmla="*/ 210476 w 455802"/>
              <a:gd name="connsiteY11" fmla="*/ 524852 h 586292"/>
              <a:gd name="connsiteX12" fmla="*/ 172494 w 455802"/>
              <a:gd name="connsiteY12" fmla="*/ 524852 h 586292"/>
              <a:gd name="connsiteX13" fmla="*/ 164898 w 455802"/>
              <a:gd name="connsiteY13" fmla="*/ 546085 h 586292"/>
              <a:gd name="connsiteX14" fmla="*/ 147426 w 455802"/>
              <a:gd name="connsiteY14" fmla="*/ 546085 h 586292"/>
              <a:gd name="connsiteX15" fmla="*/ 19751 w 455802"/>
              <a:gd name="connsiteY15" fmla="*/ 414879 h 586292"/>
              <a:gd name="connsiteX16" fmla="*/ 19751 w 455802"/>
              <a:gd name="connsiteY16" fmla="*/ 561263 h 586292"/>
              <a:gd name="connsiteX17" fmla="*/ 25069 w 455802"/>
              <a:gd name="connsiteY17" fmla="*/ 566572 h 586292"/>
              <a:gd name="connsiteX18" fmla="*/ 430733 w 455802"/>
              <a:gd name="connsiteY18" fmla="*/ 566572 h 586292"/>
              <a:gd name="connsiteX19" fmla="*/ 435291 w 455802"/>
              <a:gd name="connsiteY19" fmla="*/ 561263 h 586292"/>
              <a:gd name="connsiteX20" fmla="*/ 435291 w 455802"/>
              <a:gd name="connsiteY20" fmla="*/ 414879 h 586292"/>
              <a:gd name="connsiteX21" fmla="*/ 101036 w 455802"/>
              <a:gd name="connsiteY21" fmla="*/ 293525 h 586292"/>
              <a:gd name="connsiteX22" fmla="*/ 80525 w 455802"/>
              <a:gd name="connsiteY22" fmla="*/ 313245 h 586292"/>
              <a:gd name="connsiteX23" fmla="*/ 101036 w 455802"/>
              <a:gd name="connsiteY23" fmla="*/ 333724 h 586292"/>
              <a:gd name="connsiteX24" fmla="*/ 121547 w 455802"/>
              <a:gd name="connsiteY24" fmla="*/ 313245 h 586292"/>
              <a:gd name="connsiteX25" fmla="*/ 101036 w 455802"/>
              <a:gd name="connsiteY25" fmla="*/ 293525 h 586292"/>
              <a:gd name="connsiteX26" fmla="*/ 313744 w 455802"/>
              <a:gd name="connsiteY26" fmla="*/ 212370 h 586292"/>
              <a:gd name="connsiteX27" fmla="*/ 313744 w 455802"/>
              <a:gd name="connsiteY27" fmla="*/ 232848 h 586292"/>
              <a:gd name="connsiteX28" fmla="*/ 334255 w 455802"/>
              <a:gd name="connsiteY28" fmla="*/ 232848 h 586292"/>
              <a:gd name="connsiteX29" fmla="*/ 334255 w 455802"/>
              <a:gd name="connsiteY29" fmla="*/ 212370 h 586292"/>
              <a:gd name="connsiteX30" fmla="*/ 110912 w 455802"/>
              <a:gd name="connsiteY30" fmla="*/ 212370 h 586292"/>
              <a:gd name="connsiteX31" fmla="*/ 110912 w 455802"/>
              <a:gd name="connsiteY31" fmla="*/ 232848 h 586292"/>
              <a:gd name="connsiteX32" fmla="*/ 131423 w 455802"/>
              <a:gd name="connsiteY32" fmla="*/ 232848 h 586292"/>
              <a:gd name="connsiteX33" fmla="*/ 131423 w 455802"/>
              <a:gd name="connsiteY33" fmla="*/ 212370 h 586292"/>
              <a:gd name="connsiteX34" fmla="*/ 222583 w 455802"/>
              <a:gd name="connsiteY34" fmla="*/ 202510 h 586292"/>
              <a:gd name="connsiteX35" fmla="*/ 202072 w 455802"/>
              <a:gd name="connsiteY35" fmla="*/ 222230 h 586292"/>
              <a:gd name="connsiteX36" fmla="*/ 222583 w 455802"/>
              <a:gd name="connsiteY36" fmla="*/ 242708 h 586292"/>
              <a:gd name="connsiteX37" fmla="*/ 243094 w 455802"/>
              <a:gd name="connsiteY37" fmla="*/ 222230 h 586292"/>
              <a:gd name="connsiteX38" fmla="*/ 222583 w 455802"/>
              <a:gd name="connsiteY38" fmla="*/ 202510 h 586292"/>
              <a:gd name="connsiteX39" fmla="*/ 337293 w 455802"/>
              <a:gd name="connsiteY39" fmla="*/ 141833 h 586292"/>
              <a:gd name="connsiteX40" fmla="*/ 354006 w 455802"/>
              <a:gd name="connsiteY40" fmla="*/ 151693 h 586292"/>
              <a:gd name="connsiteX41" fmla="*/ 371479 w 455802"/>
              <a:gd name="connsiteY41" fmla="*/ 141833 h 586292"/>
              <a:gd name="connsiteX42" fmla="*/ 344130 w 455802"/>
              <a:gd name="connsiteY42" fmla="*/ 141833 h 586292"/>
              <a:gd name="connsiteX43" fmla="*/ 337293 w 455802"/>
              <a:gd name="connsiteY43" fmla="*/ 141833 h 586292"/>
              <a:gd name="connsiteX44" fmla="*/ 334255 w 455802"/>
              <a:gd name="connsiteY44" fmla="*/ 36406 h 586292"/>
              <a:gd name="connsiteX45" fmla="*/ 334255 w 455802"/>
              <a:gd name="connsiteY45" fmla="*/ 121354 h 586292"/>
              <a:gd name="connsiteX46" fmla="*/ 395028 w 455802"/>
              <a:gd name="connsiteY46" fmla="*/ 121354 h 586292"/>
              <a:gd name="connsiteX47" fmla="*/ 419338 w 455802"/>
              <a:gd name="connsiteY47" fmla="*/ 121354 h 586292"/>
              <a:gd name="connsiteX48" fmla="*/ 25069 w 455802"/>
              <a:gd name="connsiteY48" fmla="*/ 20479 h 586292"/>
              <a:gd name="connsiteX49" fmla="*/ 19751 w 455802"/>
              <a:gd name="connsiteY49" fmla="*/ 25029 h 586292"/>
              <a:gd name="connsiteX50" fmla="*/ 19751 w 455802"/>
              <a:gd name="connsiteY50" fmla="*/ 394401 h 586292"/>
              <a:gd name="connsiteX51" fmla="*/ 435291 w 455802"/>
              <a:gd name="connsiteY51" fmla="*/ 394401 h 586292"/>
              <a:gd name="connsiteX52" fmla="*/ 435291 w 455802"/>
              <a:gd name="connsiteY52" fmla="*/ 141074 h 586292"/>
              <a:gd name="connsiteX53" fmla="*/ 431493 w 455802"/>
              <a:gd name="connsiteY53" fmla="*/ 141833 h 586292"/>
              <a:gd name="connsiteX54" fmla="*/ 393509 w 455802"/>
              <a:gd name="connsiteY54" fmla="*/ 141833 h 586292"/>
              <a:gd name="connsiteX55" fmla="*/ 354006 w 455802"/>
              <a:gd name="connsiteY55" fmla="*/ 172171 h 586292"/>
              <a:gd name="connsiteX56" fmla="*/ 316782 w 455802"/>
              <a:gd name="connsiteY56" fmla="*/ 146383 h 586292"/>
              <a:gd name="connsiteX57" fmla="*/ 263606 w 455802"/>
              <a:gd name="connsiteY57" fmla="*/ 212370 h 586292"/>
              <a:gd name="connsiteX58" fmla="*/ 293233 w 455802"/>
              <a:gd name="connsiteY58" fmla="*/ 212370 h 586292"/>
              <a:gd name="connsiteX59" fmla="*/ 293233 w 455802"/>
              <a:gd name="connsiteY59" fmla="*/ 191891 h 586292"/>
              <a:gd name="connsiteX60" fmla="*/ 354006 w 455802"/>
              <a:gd name="connsiteY60" fmla="*/ 191891 h 586292"/>
              <a:gd name="connsiteX61" fmla="*/ 354006 w 455802"/>
              <a:gd name="connsiteY61" fmla="*/ 252568 h 586292"/>
              <a:gd name="connsiteX62" fmla="*/ 293233 w 455802"/>
              <a:gd name="connsiteY62" fmla="*/ 252568 h 586292"/>
              <a:gd name="connsiteX63" fmla="*/ 293233 w 455802"/>
              <a:gd name="connsiteY63" fmla="*/ 232848 h 586292"/>
              <a:gd name="connsiteX64" fmla="*/ 261326 w 455802"/>
              <a:gd name="connsiteY64" fmla="*/ 232848 h 586292"/>
              <a:gd name="connsiteX65" fmla="*/ 222583 w 455802"/>
              <a:gd name="connsiteY65" fmla="*/ 263187 h 586292"/>
              <a:gd name="connsiteX66" fmla="*/ 197514 w 455802"/>
              <a:gd name="connsiteY66" fmla="*/ 254085 h 586292"/>
              <a:gd name="connsiteX67" fmla="*/ 141299 w 455802"/>
              <a:gd name="connsiteY67" fmla="*/ 315521 h 586292"/>
              <a:gd name="connsiteX68" fmla="*/ 101036 w 455802"/>
              <a:gd name="connsiteY68" fmla="*/ 354202 h 586292"/>
              <a:gd name="connsiteX69" fmla="*/ 60774 w 455802"/>
              <a:gd name="connsiteY69" fmla="*/ 313245 h 586292"/>
              <a:gd name="connsiteX70" fmla="*/ 101036 w 455802"/>
              <a:gd name="connsiteY70" fmla="*/ 273047 h 586292"/>
              <a:gd name="connsiteX71" fmla="*/ 136741 w 455802"/>
              <a:gd name="connsiteY71" fmla="*/ 295042 h 586292"/>
              <a:gd name="connsiteX72" fmla="*/ 181561 w 455802"/>
              <a:gd name="connsiteY72" fmla="*/ 232848 h 586292"/>
              <a:gd name="connsiteX73" fmla="*/ 151934 w 455802"/>
              <a:gd name="connsiteY73" fmla="*/ 232848 h 586292"/>
              <a:gd name="connsiteX74" fmla="*/ 151934 w 455802"/>
              <a:gd name="connsiteY74" fmla="*/ 252568 h 586292"/>
              <a:gd name="connsiteX75" fmla="*/ 91160 w 455802"/>
              <a:gd name="connsiteY75" fmla="*/ 252568 h 586292"/>
              <a:gd name="connsiteX76" fmla="*/ 91160 w 455802"/>
              <a:gd name="connsiteY76" fmla="*/ 191891 h 586292"/>
              <a:gd name="connsiteX77" fmla="*/ 151934 w 455802"/>
              <a:gd name="connsiteY77" fmla="*/ 191891 h 586292"/>
              <a:gd name="connsiteX78" fmla="*/ 151934 w 455802"/>
              <a:gd name="connsiteY78" fmla="*/ 212370 h 586292"/>
              <a:gd name="connsiteX79" fmla="*/ 183840 w 455802"/>
              <a:gd name="connsiteY79" fmla="*/ 212370 h 586292"/>
              <a:gd name="connsiteX80" fmla="*/ 222583 w 455802"/>
              <a:gd name="connsiteY80" fmla="*/ 182031 h 586292"/>
              <a:gd name="connsiteX81" fmla="*/ 247652 w 455802"/>
              <a:gd name="connsiteY81" fmla="*/ 191133 h 586292"/>
              <a:gd name="connsiteX82" fmla="*/ 313744 w 455802"/>
              <a:gd name="connsiteY82" fmla="*/ 125905 h 586292"/>
              <a:gd name="connsiteX83" fmla="*/ 313744 w 455802"/>
              <a:gd name="connsiteY83" fmla="*/ 121354 h 586292"/>
              <a:gd name="connsiteX84" fmla="*/ 313744 w 455802"/>
              <a:gd name="connsiteY84" fmla="*/ 24271 h 586292"/>
              <a:gd name="connsiteX85" fmla="*/ 314503 w 455802"/>
              <a:gd name="connsiteY85" fmla="*/ 20479 h 586292"/>
              <a:gd name="connsiteX86" fmla="*/ 25069 w 455802"/>
              <a:gd name="connsiteY86" fmla="*/ 0 h 586292"/>
              <a:gd name="connsiteX87" fmla="*/ 318302 w 455802"/>
              <a:gd name="connsiteY87" fmla="*/ 0 h 586292"/>
              <a:gd name="connsiteX88" fmla="*/ 331976 w 455802"/>
              <a:gd name="connsiteY88" fmla="*/ 5309 h 586292"/>
              <a:gd name="connsiteX89" fmla="*/ 339572 w 455802"/>
              <a:gd name="connsiteY89" fmla="*/ 13652 h 586292"/>
              <a:gd name="connsiteX90" fmla="*/ 436051 w 455802"/>
              <a:gd name="connsiteY90" fmla="*/ 109219 h 586292"/>
              <a:gd name="connsiteX91" fmla="*/ 449725 w 455802"/>
              <a:gd name="connsiteY91" fmla="*/ 122871 h 586292"/>
              <a:gd name="connsiteX92" fmla="*/ 455802 w 455802"/>
              <a:gd name="connsiteY92" fmla="*/ 136523 h 586292"/>
              <a:gd name="connsiteX93" fmla="*/ 455802 w 455802"/>
              <a:gd name="connsiteY93" fmla="*/ 394401 h 586292"/>
              <a:gd name="connsiteX94" fmla="*/ 455802 w 455802"/>
              <a:gd name="connsiteY94" fmla="*/ 561263 h 586292"/>
              <a:gd name="connsiteX95" fmla="*/ 430733 w 455802"/>
              <a:gd name="connsiteY95" fmla="*/ 586292 h 586292"/>
              <a:gd name="connsiteX96" fmla="*/ 25069 w 455802"/>
              <a:gd name="connsiteY96" fmla="*/ 586292 h 586292"/>
              <a:gd name="connsiteX97" fmla="*/ 0 w 455802"/>
              <a:gd name="connsiteY97" fmla="*/ 561263 h 586292"/>
              <a:gd name="connsiteX98" fmla="*/ 0 w 455802"/>
              <a:gd name="connsiteY98" fmla="*/ 394401 h 586292"/>
              <a:gd name="connsiteX99" fmla="*/ 0 w 455802"/>
              <a:gd name="connsiteY99" fmla="*/ 25029 h 586292"/>
              <a:gd name="connsiteX100" fmla="*/ 25069 w 455802"/>
              <a:gd name="connsiteY100" fmla="*/ 0 h 58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455802" h="586292">
                <a:moveTo>
                  <a:pt x="191485" y="469495"/>
                </a:moveTo>
                <a:lnTo>
                  <a:pt x="176292" y="513478"/>
                </a:lnTo>
                <a:lnTo>
                  <a:pt x="206678" y="513478"/>
                </a:lnTo>
                <a:close/>
                <a:moveTo>
                  <a:pt x="256716" y="444471"/>
                </a:moveTo>
                <a:lnTo>
                  <a:pt x="273530" y="444471"/>
                </a:lnTo>
                <a:lnTo>
                  <a:pt x="273530" y="546085"/>
                </a:lnTo>
                <a:lnTo>
                  <a:pt x="256716" y="546085"/>
                </a:lnTo>
                <a:close/>
                <a:moveTo>
                  <a:pt x="183129" y="444471"/>
                </a:moveTo>
                <a:lnTo>
                  <a:pt x="199841" y="444471"/>
                </a:lnTo>
                <a:lnTo>
                  <a:pt x="234785" y="546085"/>
                </a:lnTo>
                <a:lnTo>
                  <a:pt x="218073" y="546085"/>
                </a:lnTo>
                <a:lnTo>
                  <a:pt x="210476" y="524852"/>
                </a:lnTo>
                <a:lnTo>
                  <a:pt x="172494" y="524852"/>
                </a:lnTo>
                <a:lnTo>
                  <a:pt x="164898" y="546085"/>
                </a:lnTo>
                <a:lnTo>
                  <a:pt x="147426" y="546085"/>
                </a:lnTo>
                <a:close/>
                <a:moveTo>
                  <a:pt x="19751" y="414879"/>
                </a:moveTo>
                <a:lnTo>
                  <a:pt x="19751" y="561263"/>
                </a:lnTo>
                <a:cubicBezTo>
                  <a:pt x="19751" y="564297"/>
                  <a:pt x="22030" y="566572"/>
                  <a:pt x="25069" y="566572"/>
                </a:cubicBezTo>
                <a:lnTo>
                  <a:pt x="430733" y="566572"/>
                </a:lnTo>
                <a:cubicBezTo>
                  <a:pt x="433012" y="566572"/>
                  <a:pt x="435291" y="564297"/>
                  <a:pt x="435291" y="561263"/>
                </a:cubicBezTo>
                <a:lnTo>
                  <a:pt x="435291" y="414879"/>
                </a:lnTo>
                <a:close/>
                <a:moveTo>
                  <a:pt x="101036" y="293525"/>
                </a:moveTo>
                <a:cubicBezTo>
                  <a:pt x="89641" y="293525"/>
                  <a:pt x="80525" y="302627"/>
                  <a:pt x="80525" y="313245"/>
                </a:cubicBezTo>
                <a:cubicBezTo>
                  <a:pt x="80525" y="324622"/>
                  <a:pt x="89641" y="333724"/>
                  <a:pt x="101036" y="333724"/>
                </a:cubicBezTo>
                <a:cubicBezTo>
                  <a:pt x="112431" y="333724"/>
                  <a:pt x="121547" y="324622"/>
                  <a:pt x="121547" y="313245"/>
                </a:cubicBezTo>
                <a:cubicBezTo>
                  <a:pt x="121547" y="302627"/>
                  <a:pt x="112431" y="293525"/>
                  <a:pt x="101036" y="293525"/>
                </a:cubicBezTo>
                <a:close/>
                <a:moveTo>
                  <a:pt x="313744" y="212370"/>
                </a:moveTo>
                <a:lnTo>
                  <a:pt x="313744" y="232848"/>
                </a:lnTo>
                <a:lnTo>
                  <a:pt x="334255" y="232848"/>
                </a:lnTo>
                <a:lnTo>
                  <a:pt x="334255" y="212370"/>
                </a:lnTo>
                <a:close/>
                <a:moveTo>
                  <a:pt x="110912" y="212370"/>
                </a:moveTo>
                <a:lnTo>
                  <a:pt x="110912" y="232848"/>
                </a:lnTo>
                <a:lnTo>
                  <a:pt x="131423" y="232848"/>
                </a:lnTo>
                <a:lnTo>
                  <a:pt x="131423" y="212370"/>
                </a:lnTo>
                <a:close/>
                <a:moveTo>
                  <a:pt x="222583" y="202510"/>
                </a:moveTo>
                <a:cubicBezTo>
                  <a:pt x="211188" y="202510"/>
                  <a:pt x="202072" y="211611"/>
                  <a:pt x="202072" y="222230"/>
                </a:cubicBezTo>
                <a:cubicBezTo>
                  <a:pt x="202072" y="233607"/>
                  <a:pt x="211188" y="242708"/>
                  <a:pt x="222583" y="242708"/>
                </a:cubicBezTo>
                <a:cubicBezTo>
                  <a:pt x="233978" y="242708"/>
                  <a:pt x="243094" y="233607"/>
                  <a:pt x="243094" y="222230"/>
                </a:cubicBezTo>
                <a:cubicBezTo>
                  <a:pt x="243094" y="211611"/>
                  <a:pt x="233978" y="202510"/>
                  <a:pt x="222583" y="202510"/>
                </a:cubicBezTo>
                <a:close/>
                <a:moveTo>
                  <a:pt x="337293" y="141833"/>
                </a:moveTo>
                <a:cubicBezTo>
                  <a:pt x="340332" y="147900"/>
                  <a:pt x="347169" y="151693"/>
                  <a:pt x="354006" y="151693"/>
                </a:cubicBezTo>
                <a:cubicBezTo>
                  <a:pt x="361603" y="151693"/>
                  <a:pt x="368440" y="147900"/>
                  <a:pt x="371479" y="141833"/>
                </a:cubicBezTo>
                <a:lnTo>
                  <a:pt x="344130" y="141833"/>
                </a:lnTo>
                <a:cubicBezTo>
                  <a:pt x="341852" y="141833"/>
                  <a:pt x="339572" y="141833"/>
                  <a:pt x="337293" y="141833"/>
                </a:cubicBezTo>
                <a:close/>
                <a:moveTo>
                  <a:pt x="334255" y="36406"/>
                </a:moveTo>
                <a:lnTo>
                  <a:pt x="334255" y="121354"/>
                </a:lnTo>
                <a:lnTo>
                  <a:pt x="395028" y="121354"/>
                </a:lnTo>
                <a:lnTo>
                  <a:pt x="419338" y="121354"/>
                </a:lnTo>
                <a:close/>
                <a:moveTo>
                  <a:pt x="25069" y="20479"/>
                </a:moveTo>
                <a:cubicBezTo>
                  <a:pt x="22030" y="20479"/>
                  <a:pt x="19751" y="21995"/>
                  <a:pt x="19751" y="25029"/>
                </a:cubicBezTo>
                <a:lnTo>
                  <a:pt x="19751" y="394401"/>
                </a:lnTo>
                <a:lnTo>
                  <a:pt x="435291" y="394401"/>
                </a:lnTo>
                <a:lnTo>
                  <a:pt x="435291" y="141074"/>
                </a:lnTo>
                <a:cubicBezTo>
                  <a:pt x="433772" y="141074"/>
                  <a:pt x="433012" y="141833"/>
                  <a:pt x="431493" y="141833"/>
                </a:cubicBezTo>
                <a:lnTo>
                  <a:pt x="393509" y="141833"/>
                </a:lnTo>
                <a:cubicBezTo>
                  <a:pt x="388951" y="159277"/>
                  <a:pt x="372998" y="172171"/>
                  <a:pt x="354006" y="172171"/>
                </a:cubicBezTo>
                <a:cubicBezTo>
                  <a:pt x="337293" y="172171"/>
                  <a:pt x="322860" y="161553"/>
                  <a:pt x="316782" y="146383"/>
                </a:cubicBezTo>
                <a:cubicBezTo>
                  <a:pt x="288675" y="156243"/>
                  <a:pt x="267404" y="182031"/>
                  <a:pt x="263606" y="212370"/>
                </a:cubicBezTo>
                <a:lnTo>
                  <a:pt x="293233" y="212370"/>
                </a:lnTo>
                <a:lnTo>
                  <a:pt x="293233" y="191891"/>
                </a:lnTo>
                <a:lnTo>
                  <a:pt x="354006" y="191891"/>
                </a:lnTo>
                <a:lnTo>
                  <a:pt x="354006" y="252568"/>
                </a:lnTo>
                <a:lnTo>
                  <a:pt x="293233" y="252568"/>
                </a:lnTo>
                <a:lnTo>
                  <a:pt x="293233" y="232848"/>
                </a:lnTo>
                <a:lnTo>
                  <a:pt x="261326" y="232848"/>
                </a:lnTo>
                <a:cubicBezTo>
                  <a:pt x="256768" y="250293"/>
                  <a:pt x="241575" y="263187"/>
                  <a:pt x="222583" y="263187"/>
                </a:cubicBezTo>
                <a:cubicBezTo>
                  <a:pt x="212708" y="263187"/>
                  <a:pt x="204351" y="259394"/>
                  <a:pt x="197514" y="254085"/>
                </a:cubicBezTo>
                <a:cubicBezTo>
                  <a:pt x="188398" y="281390"/>
                  <a:pt x="167887" y="303385"/>
                  <a:pt x="141299" y="315521"/>
                </a:cubicBezTo>
                <a:cubicBezTo>
                  <a:pt x="140539" y="336758"/>
                  <a:pt x="123067" y="354202"/>
                  <a:pt x="101036" y="354202"/>
                </a:cubicBezTo>
                <a:cubicBezTo>
                  <a:pt x="79006" y="354202"/>
                  <a:pt x="60774" y="335999"/>
                  <a:pt x="60774" y="313245"/>
                </a:cubicBezTo>
                <a:cubicBezTo>
                  <a:pt x="60774" y="291250"/>
                  <a:pt x="79006" y="273047"/>
                  <a:pt x="101036" y="273047"/>
                </a:cubicBezTo>
                <a:cubicBezTo>
                  <a:pt x="116989" y="273047"/>
                  <a:pt x="129904" y="282148"/>
                  <a:pt x="136741" y="295042"/>
                </a:cubicBezTo>
                <a:cubicBezTo>
                  <a:pt x="161050" y="282907"/>
                  <a:pt x="177763" y="259394"/>
                  <a:pt x="181561" y="232848"/>
                </a:cubicBezTo>
                <a:lnTo>
                  <a:pt x="151934" y="232848"/>
                </a:lnTo>
                <a:lnTo>
                  <a:pt x="151934" y="252568"/>
                </a:lnTo>
                <a:lnTo>
                  <a:pt x="91160" y="252568"/>
                </a:lnTo>
                <a:lnTo>
                  <a:pt x="91160" y="191891"/>
                </a:lnTo>
                <a:lnTo>
                  <a:pt x="151934" y="191891"/>
                </a:lnTo>
                <a:lnTo>
                  <a:pt x="151934" y="212370"/>
                </a:lnTo>
                <a:lnTo>
                  <a:pt x="183840" y="212370"/>
                </a:lnTo>
                <a:cubicBezTo>
                  <a:pt x="188398" y="194925"/>
                  <a:pt x="203592" y="182031"/>
                  <a:pt x="222583" y="182031"/>
                </a:cubicBezTo>
                <a:cubicBezTo>
                  <a:pt x="232459" y="182031"/>
                  <a:pt x="240815" y="185823"/>
                  <a:pt x="247652" y="191133"/>
                </a:cubicBezTo>
                <a:cubicBezTo>
                  <a:pt x="258288" y="160036"/>
                  <a:pt x="282597" y="135765"/>
                  <a:pt x="313744" y="125905"/>
                </a:cubicBezTo>
                <a:lnTo>
                  <a:pt x="313744" y="121354"/>
                </a:lnTo>
                <a:lnTo>
                  <a:pt x="313744" y="24271"/>
                </a:lnTo>
                <a:cubicBezTo>
                  <a:pt x="313744" y="22754"/>
                  <a:pt x="313744" y="21237"/>
                  <a:pt x="314503" y="20479"/>
                </a:cubicBezTo>
                <a:close/>
                <a:moveTo>
                  <a:pt x="25069" y="0"/>
                </a:moveTo>
                <a:lnTo>
                  <a:pt x="318302" y="0"/>
                </a:lnTo>
                <a:cubicBezTo>
                  <a:pt x="323619" y="0"/>
                  <a:pt x="328177" y="2275"/>
                  <a:pt x="331976" y="5309"/>
                </a:cubicBezTo>
                <a:lnTo>
                  <a:pt x="339572" y="13652"/>
                </a:lnTo>
                <a:lnTo>
                  <a:pt x="436051" y="109219"/>
                </a:lnTo>
                <a:lnTo>
                  <a:pt x="449725" y="122871"/>
                </a:lnTo>
                <a:cubicBezTo>
                  <a:pt x="453523" y="126663"/>
                  <a:pt x="455802" y="131973"/>
                  <a:pt x="455802" y="136523"/>
                </a:cubicBezTo>
                <a:lnTo>
                  <a:pt x="455802" y="394401"/>
                </a:lnTo>
                <a:lnTo>
                  <a:pt x="455802" y="561263"/>
                </a:lnTo>
                <a:cubicBezTo>
                  <a:pt x="455802" y="575673"/>
                  <a:pt x="444407" y="586292"/>
                  <a:pt x="430733" y="586292"/>
                </a:cubicBezTo>
                <a:lnTo>
                  <a:pt x="25069" y="586292"/>
                </a:lnTo>
                <a:cubicBezTo>
                  <a:pt x="10635" y="586292"/>
                  <a:pt x="0" y="575673"/>
                  <a:pt x="0" y="561263"/>
                </a:cubicBezTo>
                <a:lnTo>
                  <a:pt x="0" y="394401"/>
                </a:lnTo>
                <a:lnTo>
                  <a:pt x="0" y="25029"/>
                </a:lnTo>
                <a:cubicBezTo>
                  <a:pt x="0" y="11377"/>
                  <a:pt x="10635" y="0"/>
                  <a:pt x="25069" y="0"/>
                </a:cubicBezTo>
                <a:close/>
              </a:path>
            </a:pathLst>
          </a:custGeom>
          <a:solidFill>
            <a:schemeClr val="accent1"/>
          </a:solidFill>
          <a:ln>
            <a:noFill/>
          </a:ln>
        </p:spPr>
      </p:sp>
    </p:spTree>
    <p:custDataLst>
      <p:tags r:id="rId2"/>
    </p:custDataLst>
    <p:extLst>
      <p:ext uri="{BB962C8B-B14F-4D97-AF65-F5344CB8AC3E}">
        <p14:creationId xmlns:p14="http://schemas.microsoft.com/office/powerpoint/2010/main" val="41297449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Use "Title Only" Lay</a:t>
            </a:r>
            <a:r>
              <a:rPr lang="en-US" altLang="zh-CN" sz="100"/>
              <a:t> </a:t>
            </a:r>
            <a:r>
              <a:rPr lang="en-US" altLang="zh-CN"/>
              <a:t>out</a:t>
            </a:r>
            <a:endParaRPr lang="zh-CN" altLang="en-US"/>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a:p>
        </p:txBody>
      </p:sp>
      <p:pic>
        <p:nvPicPr>
          <p:cNvPr id="3" name="图片 2">
            <a:extLst>
              <a:ext uri="{FF2B5EF4-FFF2-40B4-BE49-F238E27FC236}">
                <a16:creationId xmlns:a16="http://schemas.microsoft.com/office/drawing/2014/main" id="{BE4AD034-8CB2-4609-A072-4931E354AD7E}"/>
              </a:ext>
            </a:extLst>
          </p:cNvPr>
          <p:cNvPicPr>
            <a:picLocks noChangeAspect="1"/>
          </p:cNvPicPr>
          <p:nvPr/>
        </p:nvPicPr>
        <p:blipFill>
          <a:blip r:embed="rId4"/>
          <a:stretch>
            <a:fillRect/>
          </a:stretch>
        </p:blipFill>
        <p:spPr>
          <a:xfrm>
            <a:off x="310843" y="340128"/>
            <a:ext cx="11787409" cy="6003525"/>
          </a:xfrm>
          <a:prstGeom prst="rect">
            <a:avLst/>
          </a:prstGeom>
        </p:spPr>
      </p:pic>
    </p:spTree>
    <p:custDataLst>
      <p:tags r:id="rId2"/>
    </p:custDataLst>
    <p:extLst>
      <p:ext uri="{BB962C8B-B14F-4D97-AF65-F5344CB8AC3E}">
        <p14:creationId xmlns:p14="http://schemas.microsoft.com/office/powerpoint/2010/main" val="19094521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a:extLst>
              <a:ext uri="{FF2B5EF4-FFF2-40B4-BE49-F238E27FC236}">
                <a16:creationId xmlns:a16="http://schemas.microsoft.com/office/drawing/2014/main" id="{35906A0F-3BB4-457E-B956-7ECFEB40B9CD}"/>
              </a:ext>
            </a:extLst>
          </p:cNvPr>
          <p:cNvGrpSpPr/>
          <p:nvPr/>
        </p:nvGrpSpPr>
        <p:grpSpPr>
          <a:xfrm>
            <a:off x="188947" y="29932"/>
            <a:ext cx="2858313" cy="4234073"/>
            <a:chOff x="3420419" y="1128040"/>
            <a:chExt cx="2604013" cy="4234073"/>
          </a:xfrm>
        </p:grpSpPr>
        <p:sp>
          <p:nvSpPr>
            <p:cNvPr id="27" name="箭头: 环形 26">
              <a:extLst>
                <a:ext uri="{FF2B5EF4-FFF2-40B4-BE49-F238E27FC236}">
                  <a16:creationId xmlns:a16="http://schemas.microsoft.com/office/drawing/2014/main" id="{C40C812D-C78D-4A19-9525-7B4C2045D2AC}"/>
                </a:ext>
              </a:extLst>
            </p:cNvPr>
            <p:cNvSpPr/>
            <p:nvPr/>
          </p:nvSpPr>
          <p:spPr>
            <a:xfrm>
              <a:off x="3986459" y="1128040"/>
              <a:ext cx="2037973" cy="2038283"/>
            </a:xfrm>
            <a:prstGeom prst="circularArrow">
              <a:avLst>
                <a:gd name="adj1" fmla="val 10980"/>
                <a:gd name="adj2" fmla="val 1142322"/>
                <a:gd name="adj3" fmla="val 4500000"/>
                <a:gd name="adj4" fmla="val 108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形状 28">
              <a:extLst>
                <a:ext uri="{FF2B5EF4-FFF2-40B4-BE49-F238E27FC236}">
                  <a16:creationId xmlns:a16="http://schemas.microsoft.com/office/drawing/2014/main" id="{F9A45460-3D6F-4150-9220-89E6D039522F}"/>
                </a:ext>
              </a:extLst>
            </p:cNvPr>
            <p:cNvSpPr/>
            <p:nvPr/>
          </p:nvSpPr>
          <p:spPr>
            <a:xfrm>
              <a:off x="3420419" y="2299184"/>
              <a:ext cx="2037973" cy="2038283"/>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31" name="空心弧 30">
              <a:extLst>
                <a:ext uri="{FF2B5EF4-FFF2-40B4-BE49-F238E27FC236}">
                  <a16:creationId xmlns:a16="http://schemas.microsoft.com/office/drawing/2014/main" id="{E7B9D098-0090-4A4E-BB0F-792F5C60D8D8}"/>
                </a:ext>
              </a:extLst>
            </p:cNvPr>
            <p:cNvSpPr/>
            <p:nvPr/>
          </p:nvSpPr>
          <p:spPr>
            <a:xfrm>
              <a:off x="4131509" y="3610477"/>
              <a:ext cx="1750934" cy="1751636"/>
            </a:xfrm>
            <a:prstGeom prst="blockArc">
              <a:avLst>
                <a:gd name="adj1" fmla="val 13500000"/>
                <a:gd name="adj2" fmla="val 10800000"/>
                <a:gd name="adj3" fmla="val 1274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4" name="文本框 33">
            <a:extLst>
              <a:ext uri="{FF2B5EF4-FFF2-40B4-BE49-F238E27FC236}">
                <a16:creationId xmlns:a16="http://schemas.microsoft.com/office/drawing/2014/main" id="{01A9A715-9F50-470D-B754-A1609235E4CA}"/>
              </a:ext>
            </a:extLst>
          </p:cNvPr>
          <p:cNvSpPr txBox="1"/>
          <p:nvPr/>
        </p:nvSpPr>
        <p:spPr>
          <a:xfrm>
            <a:off x="337351" y="512710"/>
            <a:ext cx="2849732" cy="1569660"/>
          </a:xfrm>
          <a:prstGeom prst="rect">
            <a:avLst/>
          </a:prstGeom>
          <a:noFill/>
        </p:spPr>
        <p:txBody>
          <a:bodyPr wrap="square" rtlCol="0">
            <a:spAutoFit/>
          </a:bodyPr>
          <a:lstStyle/>
          <a:p>
            <a:r>
              <a:rPr lang="zh-CN" altLang="zh-CN" sz="3200" kern="0" dirty="0">
                <a:effectLst/>
                <a:ea typeface="宋体" panose="02010600030101010101" pitchFamily="2" charset="-122"/>
                <a:cs typeface="宋体" panose="02010600030101010101" pitchFamily="2" charset="-122"/>
              </a:rPr>
              <a:t>用户登录 </a:t>
            </a:r>
            <a:r>
              <a:rPr lang="en-US" altLang="zh-CN" sz="3200" kern="0" dirty="0">
                <a:effectLst/>
                <a:highlight>
                  <a:srgbClr val="00FF00"/>
                </a:highlight>
                <a:ea typeface="宋体" panose="02010600030101010101" pitchFamily="2" charset="-122"/>
                <a:cs typeface="宋体" panose="02010600030101010101" pitchFamily="2" charset="-122"/>
              </a:rPr>
              <a:t>POST</a:t>
            </a:r>
            <a:r>
              <a:rPr lang="en-US" altLang="zh-CN" sz="3200" kern="0" dirty="0">
                <a:effectLst/>
                <a:ea typeface="宋体" panose="02010600030101010101" pitchFamily="2" charset="-122"/>
                <a:cs typeface="宋体" panose="02010600030101010101" pitchFamily="2" charset="-122"/>
              </a:rPr>
              <a:t> /Account/login</a:t>
            </a:r>
            <a:endParaRPr lang="zh-CN" altLang="en-US" sz="3200" dirty="0"/>
          </a:p>
        </p:txBody>
      </p:sp>
      <p:sp>
        <p:nvSpPr>
          <p:cNvPr id="36" name="文本框 35">
            <a:extLst>
              <a:ext uri="{FF2B5EF4-FFF2-40B4-BE49-F238E27FC236}">
                <a16:creationId xmlns:a16="http://schemas.microsoft.com/office/drawing/2014/main" id="{3629671A-E445-41B2-AC90-3FBAF3B79D70}"/>
              </a:ext>
            </a:extLst>
          </p:cNvPr>
          <p:cNvSpPr txBox="1"/>
          <p:nvPr/>
        </p:nvSpPr>
        <p:spPr>
          <a:xfrm>
            <a:off x="3047260" y="957099"/>
            <a:ext cx="9144740" cy="5129609"/>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通过参数用户名密码可以登录，如果登陆成功会返回</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Success:true</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以及附带的</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令牌；如果登陆失败则返回</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false</a:t>
            </a: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Body]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名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Name:string</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密码</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Password: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token"</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eyJhbGciOiJIUzI1NiIsInR5cCI6IkpXVCJ9.eyJqdGkiOiI3MjhiOTEyYi1lYjUzLTQ0YmMtODU3Ny1hM2UyNzMwODJiNWEiLCJuYW1lIjoiMTIzMTIzIiwibmJmIjoxNTk5OTk2ODUzLCJleHAiOjE1OTk5OTc0NTMsImlzcyI6Imp3dElzc3VlcnRlc3QiLCJhdWQiOiJqd3RBdWRpZW5jZXRlc3QifQ.-wtmH9Dn8G_vBfFkDzuqp8vO-i23OCC-A1f9l2oAe48"</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type"</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Bearer"</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p>
          <a:p>
            <a:pPr>
              <a:lnSpc>
                <a:spcPts val="1350"/>
              </a:lnSpc>
            </a:pP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信息</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Type</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类型</a:t>
            </a:r>
          </a:p>
        </p:txBody>
      </p:sp>
    </p:spTree>
    <p:custDataLst>
      <p:tags r:id="rId2"/>
    </p:custDataLst>
    <p:extLst>
      <p:ext uri="{BB962C8B-B14F-4D97-AF65-F5344CB8AC3E}">
        <p14:creationId xmlns:p14="http://schemas.microsoft.com/office/powerpoint/2010/main" val="41524067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a:extLst>
              <a:ext uri="{FF2B5EF4-FFF2-40B4-BE49-F238E27FC236}">
                <a16:creationId xmlns:a16="http://schemas.microsoft.com/office/drawing/2014/main" id="{35906A0F-3BB4-457E-B956-7ECFEB40B9CD}"/>
              </a:ext>
            </a:extLst>
          </p:cNvPr>
          <p:cNvGrpSpPr/>
          <p:nvPr/>
        </p:nvGrpSpPr>
        <p:grpSpPr>
          <a:xfrm>
            <a:off x="188947" y="29932"/>
            <a:ext cx="2604013" cy="4234073"/>
            <a:chOff x="3420419" y="1128040"/>
            <a:chExt cx="2604013" cy="4234073"/>
          </a:xfrm>
        </p:grpSpPr>
        <p:sp>
          <p:nvSpPr>
            <p:cNvPr id="27" name="箭头: 环形 26">
              <a:extLst>
                <a:ext uri="{FF2B5EF4-FFF2-40B4-BE49-F238E27FC236}">
                  <a16:creationId xmlns:a16="http://schemas.microsoft.com/office/drawing/2014/main" id="{C40C812D-C78D-4A19-9525-7B4C2045D2AC}"/>
                </a:ext>
              </a:extLst>
            </p:cNvPr>
            <p:cNvSpPr/>
            <p:nvPr/>
          </p:nvSpPr>
          <p:spPr>
            <a:xfrm>
              <a:off x="3986459" y="1128040"/>
              <a:ext cx="2037973" cy="2038283"/>
            </a:xfrm>
            <a:prstGeom prst="circularArrow">
              <a:avLst>
                <a:gd name="adj1" fmla="val 10980"/>
                <a:gd name="adj2" fmla="val 1142322"/>
                <a:gd name="adj3" fmla="val 4500000"/>
                <a:gd name="adj4" fmla="val 108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形状 28">
              <a:extLst>
                <a:ext uri="{FF2B5EF4-FFF2-40B4-BE49-F238E27FC236}">
                  <a16:creationId xmlns:a16="http://schemas.microsoft.com/office/drawing/2014/main" id="{F9A45460-3D6F-4150-9220-89E6D039522F}"/>
                </a:ext>
              </a:extLst>
            </p:cNvPr>
            <p:cNvSpPr/>
            <p:nvPr/>
          </p:nvSpPr>
          <p:spPr>
            <a:xfrm>
              <a:off x="3420419" y="2299184"/>
              <a:ext cx="2037973" cy="2038283"/>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31" name="空心弧 30">
              <a:extLst>
                <a:ext uri="{FF2B5EF4-FFF2-40B4-BE49-F238E27FC236}">
                  <a16:creationId xmlns:a16="http://schemas.microsoft.com/office/drawing/2014/main" id="{E7B9D098-0090-4A4E-BB0F-792F5C60D8D8}"/>
                </a:ext>
              </a:extLst>
            </p:cNvPr>
            <p:cNvSpPr/>
            <p:nvPr/>
          </p:nvSpPr>
          <p:spPr>
            <a:xfrm>
              <a:off x="4131509" y="3610477"/>
              <a:ext cx="1750934" cy="1751636"/>
            </a:xfrm>
            <a:prstGeom prst="blockArc">
              <a:avLst>
                <a:gd name="adj1" fmla="val 13500000"/>
                <a:gd name="adj2" fmla="val 10800000"/>
                <a:gd name="adj3" fmla="val 1274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4" name="文本框 33">
            <a:extLst>
              <a:ext uri="{FF2B5EF4-FFF2-40B4-BE49-F238E27FC236}">
                <a16:creationId xmlns:a16="http://schemas.microsoft.com/office/drawing/2014/main" id="{01A9A715-9F50-470D-B754-A1609235E4CA}"/>
              </a:ext>
            </a:extLst>
          </p:cNvPr>
          <p:cNvSpPr txBox="1"/>
          <p:nvPr/>
        </p:nvSpPr>
        <p:spPr>
          <a:xfrm>
            <a:off x="337351" y="512710"/>
            <a:ext cx="2849732" cy="2571730"/>
          </a:xfrm>
          <a:prstGeom prst="rect">
            <a:avLst/>
          </a:prstGeom>
          <a:noFill/>
        </p:spPr>
        <p:txBody>
          <a:bodyPr wrap="square" rtlCol="0">
            <a:spAutoFit/>
          </a:bodyPr>
          <a:lstStyle/>
          <a:p>
            <a:pPr algn="just">
              <a:lnSpc>
                <a:spcPct val="173000"/>
              </a:lnSpc>
              <a:spcBef>
                <a:spcPts val="1300"/>
              </a:spcBef>
              <a:spcAft>
                <a:spcPts val="1300"/>
              </a:spcAft>
            </a:pPr>
            <a:r>
              <a:rPr lang="zh-CN" altLang="zh-CN" sz="2800" b="1" kern="100" dirty="0">
                <a:effectLst/>
                <a:latin typeface="等线 Light" panose="02010600030101010101" pitchFamily="2" charset="-122"/>
                <a:ea typeface="等线 Light" panose="02010600030101010101" pitchFamily="2" charset="-122"/>
                <a:cs typeface="Times New Roman" panose="02020603050405020304" pitchFamily="18" charset="0"/>
              </a:rPr>
              <a:t>用户注册 </a:t>
            </a:r>
            <a:endParaRPr lang="en-US" altLang="zh-CN" sz="28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a:p>
            <a:pPr algn="just">
              <a:lnSpc>
                <a:spcPct val="173000"/>
              </a:lnSpc>
              <a:spcBef>
                <a:spcPts val="1300"/>
              </a:spcBef>
              <a:spcAft>
                <a:spcPts val="1300"/>
              </a:spcAft>
            </a:pPr>
            <a:r>
              <a:rPr lang="en-US" altLang="zh-CN" sz="2800" b="1" kern="100" dirty="0">
                <a:effectLst/>
                <a:highlight>
                  <a:srgbClr val="00FF00"/>
                </a:highlight>
                <a:latin typeface="等线 Light" panose="02010600030101010101" pitchFamily="2" charset="-122"/>
                <a:ea typeface="等线 Light" panose="02010600030101010101" pitchFamily="2" charset="-122"/>
                <a:cs typeface="Times New Roman" panose="02020603050405020304" pitchFamily="18" charset="0"/>
              </a:rPr>
              <a:t>POST</a:t>
            </a:r>
            <a:r>
              <a:rPr lang="en-US" altLang="zh-CN" sz="2800" b="1" kern="100" dirty="0">
                <a:effectLst/>
                <a:latin typeface="等线 Light" panose="02010600030101010101" pitchFamily="2" charset="-122"/>
                <a:ea typeface="等线 Light" panose="02010600030101010101" pitchFamily="2" charset="-122"/>
                <a:cs typeface="Times New Roman" panose="02020603050405020304" pitchFamily="18" charset="0"/>
              </a:rPr>
              <a:t> /Account/register</a:t>
            </a:r>
            <a:endParaRPr lang="zh-CN" altLang="zh-CN" sz="28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36" name="文本框 35">
            <a:extLst>
              <a:ext uri="{FF2B5EF4-FFF2-40B4-BE49-F238E27FC236}">
                <a16:creationId xmlns:a16="http://schemas.microsoft.com/office/drawing/2014/main" id="{3629671A-E445-41B2-AC90-3FBAF3B79D70}"/>
              </a:ext>
            </a:extLst>
          </p:cNvPr>
          <p:cNvSpPr txBox="1"/>
          <p:nvPr/>
        </p:nvSpPr>
        <p:spPr>
          <a:xfrm>
            <a:off x="2938010" y="362064"/>
            <a:ext cx="9144740" cy="5754589"/>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通过参数用户名密码以及邮箱可以注册，如果没有完全一摸一样的用户名和密码，则会返回</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Success:true</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以及附带的</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令牌；如果注册失败则返回</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fals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Body]{</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名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Name</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邮箱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email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密码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Passwor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token"</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eyJhbGciOiJIUzI1NiIsInR5cCI6IkpXVCJ9.eyJqdGkiOiJkNzlkZDg0ZS1lYjJjLTRlZGEtYTliOS04NzM4MDBlN2ExN2MiLCJuYW1lIjoibmV3T25lIiwibmJmIjoxNTk5OTk3MTE1LCJleHAiOjE1OTk5OTc3MTUsImlzcyI6Imp3dElzc3VlcnRlc3QiLCJhdWQiOiJqd3RBdWRpZW5jZXRlc3QifQ.LVHUU25hbYJfXZMTUDrplb8qqm1aeOqtafcat78BPNM"</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msg"</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New User Registere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信息</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Msg</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的文本你信息</a:t>
            </a: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33315157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a:extLst>
              <a:ext uri="{FF2B5EF4-FFF2-40B4-BE49-F238E27FC236}">
                <a16:creationId xmlns:a16="http://schemas.microsoft.com/office/drawing/2014/main" id="{35906A0F-3BB4-457E-B956-7ECFEB40B9CD}"/>
              </a:ext>
            </a:extLst>
          </p:cNvPr>
          <p:cNvGrpSpPr/>
          <p:nvPr/>
        </p:nvGrpSpPr>
        <p:grpSpPr>
          <a:xfrm>
            <a:off x="188947" y="29932"/>
            <a:ext cx="2604013" cy="4234073"/>
            <a:chOff x="3420419" y="1128040"/>
            <a:chExt cx="2604013" cy="4234073"/>
          </a:xfrm>
        </p:grpSpPr>
        <p:sp>
          <p:nvSpPr>
            <p:cNvPr id="27" name="箭头: 环形 26">
              <a:extLst>
                <a:ext uri="{FF2B5EF4-FFF2-40B4-BE49-F238E27FC236}">
                  <a16:creationId xmlns:a16="http://schemas.microsoft.com/office/drawing/2014/main" id="{C40C812D-C78D-4A19-9525-7B4C2045D2AC}"/>
                </a:ext>
              </a:extLst>
            </p:cNvPr>
            <p:cNvSpPr/>
            <p:nvPr/>
          </p:nvSpPr>
          <p:spPr>
            <a:xfrm>
              <a:off x="3986459" y="1128040"/>
              <a:ext cx="2037973" cy="2038283"/>
            </a:xfrm>
            <a:prstGeom prst="circularArrow">
              <a:avLst>
                <a:gd name="adj1" fmla="val 10980"/>
                <a:gd name="adj2" fmla="val 1142322"/>
                <a:gd name="adj3" fmla="val 4500000"/>
                <a:gd name="adj4" fmla="val 108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形状 28">
              <a:extLst>
                <a:ext uri="{FF2B5EF4-FFF2-40B4-BE49-F238E27FC236}">
                  <a16:creationId xmlns:a16="http://schemas.microsoft.com/office/drawing/2014/main" id="{F9A45460-3D6F-4150-9220-89E6D039522F}"/>
                </a:ext>
              </a:extLst>
            </p:cNvPr>
            <p:cNvSpPr/>
            <p:nvPr/>
          </p:nvSpPr>
          <p:spPr>
            <a:xfrm>
              <a:off x="3420419" y="2299184"/>
              <a:ext cx="2037973" cy="2038283"/>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31" name="空心弧 30">
              <a:extLst>
                <a:ext uri="{FF2B5EF4-FFF2-40B4-BE49-F238E27FC236}">
                  <a16:creationId xmlns:a16="http://schemas.microsoft.com/office/drawing/2014/main" id="{E7B9D098-0090-4A4E-BB0F-792F5C60D8D8}"/>
                </a:ext>
              </a:extLst>
            </p:cNvPr>
            <p:cNvSpPr/>
            <p:nvPr/>
          </p:nvSpPr>
          <p:spPr>
            <a:xfrm>
              <a:off x="4131509" y="3610477"/>
              <a:ext cx="1750934" cy="1751636"/>
            </a:xfrm>
            <a:prstGeom prst="blockArc">
              <a:avLst>
                <a:gd name="adj1" fmla="val 13500000"/>
                <a:gd name="adj2" fmla="val 10800000"/>
                <a:gd name="adj3" fmla="val 1274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4" name="文本框 33">
            <a:extLst>
              <a:ext uri="{FF2B5EF4-FFF2-40B4-BE49-F238E27FC236}">
                <a16:creationId xmlns:a16="http://schemas.microsoft.com/office/drawing/2014/main" id="{01A9A715-9F50-470D-B754-A1609235E4CA}"/>
              </a:ext>
            </a:extLst>
          </p:cNvPr>
          <p:cNvSpPr txBox="1"/>
          <p:nvPr/>
        </p:nvSpPr>
        <p:spPr>
          <a:xfrm>
            <a:off x="337351" y="512710"/>
            <a:ext cx="2849732" cy="3046988"/>
          </a:xfrm>
          <a:prstGeom prst="rect">
            <a:avLst/>
          </a:prstGeom>
          <a:noFill/>
        </p:spPr>
        <p:txBody>
          <a:bodyPr wrap="square" rtlCol="0">
            <a:spAutoFit/>
          </a:bodyPr>
          <a:lstStyle/>
          <a:p>
            <a:r>
              <a:rPr lang="zh-CN" altLang="zh-CN" sz="3200" kern="0" dirty="0">
                <a:effectLst/>
                <a:ea typeface="宋体" panose="02010600030101010101" pitchFamily="2" charset="-122"/>
                <a:cs typeface="宋体" panose="02010600030101010101" pitchFamily="2" charset="-122"/>
              </a:rPr>
              <a:t>获取</a:t>
            </a:r>
            <a:r>
              <a:rPr lang="en-US" altLang="zh-CN" sz="3200" kern="0" dirty="0">
                <a:effectLst/>
                <a:ea typeface="宋体" panose="02010600030101010101" pitchFamily="2" charset="-122"/>
                <a:cs typeface="宋体" panose="02010600030101010101" pitchFamily="2" charset="-122"/>
              </a:rPr>
              <a:t>id </a:t>
            </a:r>
            <a:r>
              <a:rPr lang="zh-CN" altLang="zh-CN" sz="3200" kern="0" dirty="0">
                <a:effectLst/>
                <a:ea typeface="宋体" panose="02010600030101010101" pitchFamily="2" charset="-122"/>
                <a:cs typeface="宋体" panose="02010600030101010101" pitchFamily="2" charset="-122"/>
              </a:rPr>
              <a:t>用户的详细信息（个人信息页面） </a:t>
            </a:r>
            <a:r>
              <a:rPr lang="en-US" altLang="zh-CN" sz="3200" kern="0" dirty="0">
                <a:solidFill>
                  <a:srgbClr val="000000"/>
                </a:solidFill>
                <a:effectLst/>
                <a:highlight>
                  <a:srgbClr val="00FFFF"/>
                </a:highlight>
                <a:ea typeface="宋体" panose="02010600030101010101" pitchFamily="2" charset="-122"/>
                <a:cs typeface="宋体" panose="02010600030101010101" pitchFamily="2" charset="-122"/>
              </a:rPr>
              <a:t>GET</a:t>
            </a:r>
            <a:r>
              <a:rPr lang="en-US" altLang="zh-CN" sz="3200" kern="0" dirty="0">
                <a:solidFill>
                  <a:srgbClr val="000000"/>
                </a:solidFill>
                <a:effectLst/>
                <a:ea typeface="宋体" panose="02010600030101010101" pitchFamily="2" charset="-122"/>
                <a:cs typeface="宋体" panose="02010600030101010101" pitchFamily="2" charset="-122"/>
              </a:rPr>
              <a:t> /Account/</a:t>
            </a:r>
            <a:r>
              <a:rPr lang="en-US" altLang="zh-CN" sz="3200" kern="0" dirty="0" err="1">
                <a:solidFill>
                  <a:srgbClr val="000000"/>
                </a:solidFill>
                <a:effectLst/>
                <a:ea typeface="宋体" panose="02010600030101010101" pitchFamily="2" charset="-122"/>
                <a:cs typeface="宋体" panose="02010600030101010101" pitchFamily="2" charset="-122"/>
              </a:rPr>
              <a:t>getUserInfo</a:t>
            </a:r>
            <a:endParaRPr lang="zh-CN" altLang="en-US" sz="4800" dirty="0"/>
          </a:p>
        </p:txBody>
      </p:sp>
      <p:sp>
        <p:nvSpPr>
          <p:cNvPr id="36" name="文本框 35">
            <a:extLst>
              <a:ext uri="{FF2B5EF4-FFF2-40B4-BE49-F238E27FC236}">
                <a16:creationId xmlns:a16="http://schemas.microsoft.com/office/drawing/2014/main" id="{3629671A-E445-41B2-AC90-3FBAF3B79D70}"/>
              </a:ext>
            </a:extLst>
          </p:cNvPr>
          <p:cNvSpPr txBox="1"/>
          <p:nvPr/>
        </p:nvSpPr>
        <p:spPr>
          <a:xfrm>
            <a:off x="2967361" y="684883"/>
            <a:ext cx="9144740" cy="5406608"/>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通过参数用户名密码可以登录，如果登陆成功会返回</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Success:true</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以及附带的</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令牌；如果登陆失败则返回</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false</a:t>
            </a: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Body]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名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Name:string</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密码</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Password: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token"</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eyJhbGciOiJIUzI1NiIsInR5cCI6IkpXVCJ9.eyJqdGkiOiI3MjhiOTEyYi1lYjUzLTQ0YmMtODU3Ny1hM2UyNzMwODJiNWEiLCJuYW1lIjoiMTIzMTIzIiwibmJmIjoxNTk5OTk2ODUzLCJleHAiOjE1OTk5OTc0NTMsImlzcyI6Imp3dElzc3VlcnRlc3QiLCJhdWQiOiJqd3RBdWRpZW5jZXRlc3QifQ.-wtmH9Dn8G_vBfFkDzuqp8vO-i23OCC-A1f9l2oAe48"</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type"</a:t>
            </a: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1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1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Bearer"</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p>
          <a:p>
            <a:pPr>
              <a:lnSpc>
                <a:spcPts val="1350"/>
              </a:lnSpc>
            </a:pP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信息</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Type</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oken</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类型</a:t>
            </a: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9629822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a:extLst>
              <a:ext uri="{FF2B5EF4-FFF2-40B4-BE49-F238E27FC236}">
                <a16:creationId xmlns:a16="http://schemas.microsoft.com/office/drawing/2014/main" id="{35906A0F-3BB4-457E-B956-7ECFEB40B9CD}"/>
              </a:ext>
            </a:extLst>
          </p:cNvPr>
          <p:cNvGrpSpPr/>
          <p:nvPr/>
        </p:nvGrpSpPr>
        <p:grpSpPr>
          <a:xfrm>
            <a:off x="188947" y="29932"/>
            <a:ext cx="2604013" cy="4234073"/>
            <a:chOff x="3420419" y="1128040"/>
            <a:chExt cx="2604013" cy="4234073"/>
          </a:xfrm>
        </p:grpSpPr>
        <p:sp>
          <p:nvSpPr>
            <p:cNvPr id="27" name="箭头: 环形 26">
              <a:extLst>
                <a:ext uri="{FF2B5EF4-FFF2-40B4-BE49-F238E27FC236}">
                  <a16:creationId xmlns:a16="http://schemas.microsoft.com/office/drawing/2014/main" id="{C40C812D-C78D-4A19-9525-7B4C2045D2AC}"/>
                </a:ext>
              </a:extLst>
            </p:cNvPr>
            <p:cNvSpPr/>
            <p:nvPr/>
          </p:nvSpPr>
          <p:spPr>
            <a:xfrm>
              <a:off x="3986459" y="1128040"/>
              <a:ext cx="2037973" cy="2038283"/>
            </a:xfrm>
            <a:prstGeom prst="circularArrow">
              <a:avLst>
                <a:gd name="adj1" fmla="val 10980"/>
                <a:gd name="adj2" fmla="val 1142322"/>
                <a:gd name="adj3" fmla="val 4500000"/>
                <a:gd name="adj4" fmla="val 108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形状 28">
              <a:extLst>
                <a:ext uri="{FF2B5EF4-FFF2-40B4-BE49-F238E27FC236}">
                  <a16:creationId xmlns:a16="http://schemas.microsoft.com/office/drawing/2014/main" id="{F9A45460-3D6F-4150-9220-89E6D039522F}"/>
                </a:ext>
              </a:extLst>
            </p:cNvPr>
            <p:cNvSpPr/>
            <p:nvPr/>
          </p:nvSpPr>
          <p:spPr>
            <a:xfrm>
              <a:off x="3420419" y="2299184"/>
              <a:ext cx="2037973" cy="2038283"/>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31" name="空心弧 30">
              <a:extLst>
                <a:ext uri="{FF2B5EF4-FFF2-40B4-BE49-F238E27FC236}">
                  <a16:creationId xmlns:a16="http://schemas.microsoft.com/office/drawing/2014/main" id="{E7B9D098-0090-4A4E-BB0F-792F5C60D8D8}"/>
                </a:ext>
              </a:extLst>
            </p:cNvPr>
            <p:cNvSpPr/>
            <p:nvPr/>
          </p:nvSpPr>
          <p:spPr>
            <a:xfrm>
              <a:off x="4131509" y="3610477"/>
              <a:ext cx="1750934" cy="1751636"/>
            </a:xfrm>
            <a:prstGeom prst="blockArc">
              <a:avLst>
                <a:gd name="adj1" fmla="val 13500000"/>
                <a:gd name="adj2" fmla="val 10800000"/>
                <a:gd name="adj3" fmla="val 1274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4" name="文本框 33">
            <a:extLst>
              <a:ext uri="{FF2B5EF4-FFF2-40B4-BE49-F238E27FC236}">
                <a16:creationId xmlns:a16="http://schemas.microsoft.com/office/drawing/2014/main" id="{01A9A715-9F50-470D-B754-A1609235E4CA}"/>
              </a:ext>
            </a:extLst>
          </p:cNvPr>
          <p:cNvSpPr txBox="1"/>
          <p:nvPr/>
        </p:nvSpPr>
        <p:spPr>
          <a:xfrm>
            <a:off x="337351" y="512710"/>
            <a:ext cx="2849732" cy="2554545"/>
          </a:xfrm>
          <a:prstGeom prst="rect">
            <a:avLst/>
          </a:prstGeom>
          <a:noFill/>
        </p:spPr>
        <p:txBody>
          <a:bodyPr wrap="square" rtlCol="0">
            <a:spAutoFit/>
          </a:bodyPr>
          <a:lstStyle/>
          <a:p>
            <a:r>
              <a:rPr lang="zh-CN" altLang="zh-CN" sz="3200" kern="0" dirty="0">
                <a:effectLst/>
                <a:ea typeface="宋体" panose="02010600030101010101" pitchFamily="2" charset="-122"/>
                <a:cs typeface="宋体" panose="02010600030101010101" pitchFamily="2" charset="-122"/>
              </a:rPr>
              <a:t>保存用户填写后详细信息 </a:t>
            </a:r>
            <a:r>
              <a:rPr lang="en-US" altLang="zh-CN" sz="3200" kern="0" dirty="0">
                <a:effectLst/>
                <a:highlight>
                  <a:srgbClr val="00FF00"/>
                </a:highlight>
                <a:ea typeface="宋体" panose="02010600030101010101" pitchFamily="2" charset="-122"/>
                <a:cs typeface="宋体" panose="02010600030101010101" pitchFamily="2" charset="-122"/>
              </a:rPr>
              <a:t>POST</a:t>
            </a:r>
            <a:r>
              <a:rPr lang="en-US" altLang="zh-CN" sz="3200" kern="0" dirty="0">
                <a:effectLst/>
                <a:ea typeface="宋体" panose="02010600030101010101" pitchFamily="2" charset="-122"/>
                <a:cs typeface="宋体" panose="02010600030101010101" pitchFamily="2" charset="-122"/>
              </a:rPr>
              <a:t> /Account/</a:t>
            </a:r>
            <a:r>
              <a:rPr lang="en-US" altLang="zh-CN" sz="3200" kern="0" dirty="0" err="1">
                <a:effectLst/>
                <a:ea typeface="宋体" panose="02010600030101010101" pitchFamily="2" charset="-122"/>
                <a:cs typeface="宋体" panose="02010600030101010101" pitchFamily="2" charset="-122"/>
              </a:rPr>
              <a:t>saveUserInfo</a:t>
            </a:r>
            <a:endParaRPr lang="zh-CN" altLang="en-US" sz="3200" dirty="0"/>
          </a:p>
        </p:txBody>
      </p:sp>
      <p:sp>
        <p:nvSpPr>
          <p:cNvPr id="36" name="文本框 35">
            <a:extLst>
              <a:ext uri="{FF2B5EF4-FFF2-40B4-BE49-F238E27FC236}">
                <a16:creationId xmlns:a16="http://schemas.microsoft.com/office/drawing/2014/main" id="{3629671A-E445-41B2-AC90-3FBAF3B79D70}"/>
              </a:ext>
            </a:extLst>
          </p:cNvPr>
          <p:cNvSpPr txBox="1"/>
          <p:nvPr/>
        </p:nvSpPr>
        <p:spPr>
          <a:xfrm>
            <a:off x="2938010" y="582638"/>
            <a:ext cx="9144740" cy="5313442"/>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保存参数信息至数据库 用于个人信息页面的保存</a:t>
            </a:r>
            <a:endParaRPr lang="en-US"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Body]{</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名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Name</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真名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name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生日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birthday :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DateTime</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邮箱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email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个人留言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message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msg"</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Operation Don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p>
          <a:p>
            <a:pPr>
              <a:lnSpc>
                <a:spcPts val="1350"/>
              </a:lnSpc>
            </a:pP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Msg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信息</a:t>
            </a: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7382088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a:extLst>
              <a:ext uri="{FF2B5EF4-FFF2-40B4-BE49-F238E27FC236}">
                <a16:creationId xmlns:a16="http://schemas.microsoft.com/office/drawing/2014/main" id="{35906A0F-3BB4-457E-B956-7ECFEB40B9CD}"/>
              </a:ext>
            </a:extLst>
          </p:cNvPr>
          <p:cNvGrpSpPr/>
          <p:nvPr/>
        </p:nvGrpSpPr>
        <p:grpSpPr>
          <a:xfrm>
            <a:off x="188947" y="29932"/>
            <a:ext cx="2604013" cy="4234073"/>
            <a:chOff x="3420419" y="1128040"/>
            <a:chExt cx="2604013" cy="4234073"/>
          </a:xfrm>
        </p:grpSpPr>
        <p:sp>
          <p:nvSpPr>
            <p:cNvPr id="27" name="箭头: 环形 26">
              <a:extLst>
                <a:ext uri="{FF2B5EF4-FFF2-40B4-BE49-F238E27FC236}">
                  <a16:creationId xmlns:a16="http://schemas.microsoft.com/office/drawing/2014/main" id="{C40C812D-C78D-4A19-9525-7B4C2045D2AC}"/>
                </a:ext>
              </a:extLst>
            </p:cNvPr>
            <p:cNvSpPr/>
            <p:nvPr/>
          </p:nvSpPr>
          <p:spPr>
            <a:xfrm>
              <a:off x="3986459" y="1128040"/>
              <a:ext cx="2037973" cy="2038283"/>
            </a:xfrm>
            <a:prstGeom prst="circularArrow">
              <a:avLst>
                <a:gd name="adj1" fmla="val 10980"/>
                <a:gd name="adj2" fmla="val 1142322"/>
                <a:gd name="adj3" fmla="val 4500000"/>
                <a:gd name="adj4" fmla="val 108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形状 28">
              <a:extLst>
                <a:ext uri="{FF2B5EF4-FFF2-40B4-BE49-F238E27FC236}">
                  <a16:creationId xmlns:a16="http://schemas.microsoft.com/office/drawing/2014/main" id="{F9A45460-3D6F-4150-9220-89E6D039522F}"/>
                </a:ext>
              </a:extLst>
            </p:cNvPr>
            <p:cNvSpPr/>
            <p:nvPr/>
          </p:nvSpPr>
          <p:spPr>
            <a:xfrm>
              <a:off x="3420419" y="2299184"/>
              <a:ext cx="2037973" cy="2038283"/>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31" name="空心弧 30">
              <a:extLst>
                <a:ext uri="{FF2B5EF4-FFF2-40B4-BE49-F238E27FC236}">
                  <a16:creationId xmlns:a16="http://schemas.microsoft.com/office/drawing/2014/main" id="{E7B9D098-0090-4A4E-BB0F-792F5C60D8D8}"/>
                </a:ext>
              </a:extLst>
            </p:cNvPr>
            <p:cNvSpPr/>
            <p:nvPr/>
          </p:nvSpPr>
          <p:spPr>
            <a:xfrm>
              <a:off x="4131509" y="3610477"/>
              <a:ext cx="1750934" cy="1751636"/>
            </a:xfrm>
            <a:prstGeom prst="blockArc">
              <a:avLst>
                <a:gd name="adj1" fmla="val 13500000"/>
                <a:gd name="adj2" fmla="val 10800000"/>
                <a:gd name="adj3" fmla="val 1274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4" name="文本框 33">
            <a:extLst>
              <a:ext uri="{FF2B5EF4-FFF2-40B4-BE49-F238E27FC236}">
                <a16:creationId xmlns:a16="http://schemas.microsoft.com/office/drawing/2014/main" id="{01A9A715-9F50-470D-B754-A1609235E4CA}"/>
              </a:ext>
            </a:extLst>
          </p:cNvPr>
          <p:cNvSpPr txBox="1"/>
          <p:nvPr/>
        </p:nvSpPr>
        <p:spPr>
          <a:xfrm>
            <a:off x="337351" y="512710"/>
            <a:ext cx="2849732" cy="3046988"/>
          </a:xfrm>
          <a:prstGeom prst="rect">
            <a:avLst/>
          </a:prstGeom>
          <a:noFill/>
        </p:spPr>
        <p:txBody>
          <a:bodyPr wrap="square" rtlCol="0">
            <a:spAutoFit/>
          </a:bodyPr>
          <a:lstStyle/>
          <a:p>
            <a:r>
              <a:rPr lang="zh-CN" altLang="zh-CN" sz="3200" kern="0" dirty="0">
                <a:effectLst/>
                <a:ea typeface="宋体" panose="02010600030101010101" pitchFamily="2" charset="-122"/>
                <a:cs typeface="宋体" panose="02010600030101010101" pitchFamily="2" charset="-122"/>
              </a:rPr>
              <a:t>获取用户个人图片主页信息</a:t>
            </a:r>
            <a:r>
              <a:rPr lang="en-US" altLang="zh-CN" sz="3200" kern="0" dirty="0">
                <a:effectLst/>
                <a:ea typeface="宋体" panose="02010600030101010101" pitchFamily="2" charset="-122"/>
                <a:cs typeface="宋体" panose="02010600030101010101" pitchFamily="2" charset="-122"/>
              </a:rPr>
              <a:t>(</a:t>
            </a:r>
            <a:r>
              <a:rPr lang="zh-CN" altLang="zh-CN" sz="3200" kern="0" dirty="0">
                <a:effectLst/>
                <a:ea typeface="宋体" panose="02010600030101010101" pitchFamily="2" charset="-122"/>
                <a:cs typeface="宋体" panose="02010600030101010101" pitchFamily="2" charset="-122"/>
              </a:rPr>
              <a:t>个人图片主页</a:t>
            </a:r>
            <a:r>
              <a:rPr lang="en-US" altLang="zh-CN" sz="3200" kern="0" dirty="0">
                <a:effectLst/>
                <a:ea typeface="宋体" panose="02010600030101010101" pitchFamily="2" charset="-122"/>
                <a:cs typeface="宋体" panose="02010600030101010101" pitchFamily="2" charset="-122"/>
              </a:rPr>
              <a:t>) </a:t>
            </a:r>
            <a:r>
              <a:rPr lang="en-US" altLang="zh-CN" sz="3200" kern="0" dirty="0">
                <a:effectLst/>
                <a:highlight>
                  <a:srgbClr val="00FFFF"/>
                </a:highlight>
                <a:ea typeface="宋体" panose="02010600030101010101" pitchFamily="2" charset="-122"/>
                <a:cs typeface="宋体" panose="02010600030101010101" pitchFamily="2" charset="-122"/>
              </a:rPr>
              <a:t>GET</a:t>
            </a:r>
            <a:r>
              <a:rPr lang="en-US" altLang="zh-CN" sz="3200" kern="0" dirty="0">
                <a:effectLst/>
                <a:ea typeface="宋体" panose="02010600030101010101" pitchFamily="2" charset="-122"/>
                <a:cs typeface="宋体" panose="02010600030101010101" pitchFamily="2" charset="-122"/>
              </a:rPr>
              <a:t> /Account/</a:t>
            </a:r>
            <a:r>
              <a:rPr lang="en-US" altLang="zh-CN" sz="3200" kern="0" dirty="0" err="1">
                <a:effectLst/>
                <a:ea typeface="宋体" panose="02010600030101010101" pitchFamily="2" charset="-122"/>
                <a:cs typeface="宋体" panose="02010600030101010101" pitchFamily="2" charset="-122"/>
              </a:rPr>
              <a:t>getProfileInfo</a:t>
            </a:r>
            <a:endParaRPr lang="zh-CN" altLang="en-US" sz="3200" dirty="0"/>
          </a:p>
        </p:txBody>
      </p:sp>
      <p:sp>
        <p:nvSpPr>
          <p:cNvPr id="36" name="文本框 35">
            <a:extLst>
              <a:ext uri="{FF2B5EF4-FFF2-40B4-BE49-F238E27FC236}">
                <a16:creationId xmlns:a16="http://schemas.microsoft.com/office/drawing/2014/main" id="{3629671A-E445-41B2-AC90-3FBAF3B79D70}"/>
              </a:ext>
            </a:extLst>
          </p:cNvPr>
          <p:cNvSpPr txBox="1"/>
          <p:nvPr/>
        </p:nvSpPr>
        <p:spPr>
          <a:xfrm>
            <a:off x="3187083" y="710213"/>
            <a:ext cx="9144740" cy="4744056"/>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根据参数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能够获取其个人图片主页所需信息，用于个人图片主页</a:t>
            </a:r>
            <a:endParaRPr lang="en-US"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aram]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 </a:t>
            </a: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err="1">
                <a:solidFill>
                  <a:srgbClr val="9CDCFE"/>
                </a:solidFill>
                <a:effectLst/>
                <a:latin typeface="Consolas" panose="020B0609020204030204" pitchFamily="49" charset="0"/>
                <a:ea typeface="宋体" panose="02010600030101010101" pitchFamily="2" charset="-122"/>
                <a:cs typeface="宋体" panose="02010600030101010101" pitchFamily="2" charset="-122"/>
              </a:rPr>
              <a:t>starNum</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B5CEA8"/>
                </a:solidFill>
                <a:effectLst/>
                <a:latin typeface="Consolas" panose="020B0609020204030204" pitchFamily="49" charset="0"/>
                <a:ea typeface="宋体" panose="02010600030101010101" pitchFamily="2" charset="-122"/>
                <a:cs typeface="宋体" panose="02010600030101010101" pitchFamily="2" charset="-122"/>
              </a:rPr>
              <a:t>0</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err="1">
                <a:solidFill>
                  <a:srgbClr val="9CDCFE"/>
                </a:solidFill>
                <a:effectLst/>
                <a:latin typeface="Consolas" panose="020B0609020204030204" pitchFamily="49" charset="0"/>
                <a:ea typeface="宋体" panose="02010600030101010101" pitchFamily="2" charset="-122"/>
                <a:cs typeface="宋体" panose="02010600030101010101" pitchFamily="2" charset="-122"/>
              </a:rPr>
              <a:t>likeNum</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B5CEA8"/>
                </a:solidFill>
                <a:effectLst/>
                <a:latin typeface="Consolas" panose="020B0609020204030204" pitchFamily="49" charset="0"/>
                <a:ea typeface="宋体" panose="02010600030101010101" pitchFamily="2" charset="-122"/>
                <a:cs typeface="宋体" panose="02010600030101010101" pitchFamily="2" charset="-122"/>
              </a:rPr>
              <a:t>0</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err="1">
                <a:solidFill>
                  <a:srgbClr val="9CDCFE"/>
                </a:solidFill>
                <a:effectLst/>
                <a:latin typeface="Consolas" panose="020B0609020204030204" pitchFamily="49" charset="0"/>
                <a:ea typeface="宋体" panose="02010600030101010101" pitchFamily="2" charset="-122"/>
                <a:cs typeface="宋体" panose="02010600030101010101" pitchFamily="2" charset="-122"/>
              </a:rPr>
              <a:t>commentNum</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B5CEA8"/>
                </a:solidFill>
                <a:effectLst/>
                <a:latin typeface="Consolas" panose="020B0609020204030204" pitchFamily="49" charset="0"/>
                <a:ea typeface="宋体" panose="02010600030101010101" pitchFamily="2" charset="-122"/>
                <a:cs typeface="宋体" panose="02010600030101010101" pitchFamily="2" charset="-122"/>
              </a:rPr>
              <a:t>1</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err="1">
                <a:solidFill>
                  <a:srgbClr val="9CDCFE"/>
                </a:solidFill>
                <a:effectLst/>
                <a:latin typeface="Consolas" panose="020B0609020204030204" pitchFamily="49" charset="0"/>
                <a:ea typeface="宋体" panose="02010600030101010101" pitchFamily="2" charset="-122"/>
                <a:cs typeface="宋体" panose="02010600030101010101" pitchFamily="2" charset="-122"/>
              </a:rPr>
              <a:t>followNum</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B5CEA8"/>
                </a:solidFill>
                <a:effectLst/>
                <a:latin typeface="Consolas" panose="020B0609020204030204" pitchFamily="49" charset="0"/>
                <a:ea typeface="宋体" panose="02010600030101010101" pitchFamily="2" charset="-122"/>
                <a:cs typeface="宋体" panose="02010600030101010101" pitchFamily="2" charset="-122"/>
              </a:rPr>
              <a:t>0</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p>
          <a:p>
            <a:pPr>
              <a:lnSpc>
                <a:spcPts val="1350"/>
              </a:lnSpc>
            </a:pP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starNum</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作品被收藏数</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likeNum</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作品被点赞数</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commentNum</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个人评论数</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followNum</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个人粉丝数量</a:t>
            </a: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14255660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a:extLst>
              <a:ext uri="{FF2B5EF4-FFF2-40B4-BE49-F238E27FC236}">
                <a16:creationId xmlns:a16="http://schemas.microsoft.com/office/drawing/2014/main" id="{35906A0F-3BB4-457E-B956-7ECFEB40B9CD}"/>
              </a:ext>
            </a:extLst>
          </p:cNvPr>
          <p:cNvGrpSpPr/>
          <p:nvPr/>
        </p:nvGrpSpPr>
        <p:grpSpPr>
          <a:xfrm>
            <a:off x="188947" y="29932"/>
            <a:ext cx="2604013" cy="4234073"/>
            <a:chOff x="3420419" y="1128040"/>
            <a:chExt cx="2604013" cy="4234073"/>
          </a:xfrm>
        </p:grpSpPr>
        <p:sp>
          <p:nvSpPr>
            <p:cNvPr id="27" name="箭头: 环形 26">
              <a:extLst>
                <a:ext uri="{FF2B5EF4-FFF2-40B4-BE49-F238E27FC236}">
                  <a16:creationId xmlns:a16="http://schemas.microsoft.com/office/drawing/2014/main" id="{C40C812D-C78D-4A19-9525-7B4C2045D2AC}"/>
                </a:ext>
              </a:extLst>
            </p:cNvPr>
            <p:cNvSpPr/>
            <p:nvPr/>
          </p:nvSpPr>
          <p:spPr>
            <a:xfrm>
              <a:off x="3986459" y="1128040"/>
              <a:ext cx="2037973" cy="2038283"/>
            </a:xfrm>
            <a:prstGeom prst="circularArrow">
              <a:avLst>
                <a:gd name="adj1" fmla="val 10980"/>
                <a:gd name="adj2" fmla="val 1142322"/>
                <a:gd name="adj3" fmla="val 4500000"/>
                <a:gd name="adj4" fmla="val 108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形状 28">
              <a:extLst>
                <a:ext uri="{FF2B5EF4-FFF2-40B4-BE49-F238E27FC236}">
                  <a16:creationId xmlns:a16="http://schemas.microsoft.com/office/drawing/2014/main" id="{F9A45460-3D6F-4150-9220-89E6D039522F}"/>
                </a:ext>
              </a:extLst>
            </p:cNvPr>
            <p:cNvSpPr/>
            <p:nvPr/>
          </p:nvSpPr>
          <p:spPr>
            <a:xfrm>
              <a:off x="3420419" y="2299184"/>
              <a:ext cx="2037973" cy="2038283"/>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31" name="空心弧 30">
              <a:extLst>
                <a:ext uri="{FF2B5EF4-FFF2-40B4-BE49-F238E27FC236}">
                  <a16:creationId xmlns:a16="http://schemas.microsoft.com/office/drawing/2014/main" id="{E7B9D098-0090-4A4E-BB0F-792F5C60D8D8}"/>
                </a:ext>
              </a:extLst>
            </p:cNvPr>
            <p:cNvSpPr/>
            <p:nvPr/>
          </p:nvSpPr>
          <p:spPr>
            <a:xfrm>
              <a:off x="4131509" y="3610477"/>
              <a:ext cx="1750934" cy="1751636"/>
            </a:xfrm>
            <a:prstGeom prst="blockArc">
              <a:avLst>
                <a:gd name="adj1" fmla="val 13500000"/>
                <a:gd name="adj2" fmla="val 10800000"/>
                <a:gd name="adj3" fmla="val 1274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4" name="文本框 33">
            <a:extLst>
              <a:ext uri="{FF2B5EF4-FFF2-40B4-BE49-F238E27FC236}">
                <a16:creationId xmlns:a16="http://schemas.microsoft.com/office/drawing/2014/main" id="{01A9A715-9F50-470D-B754-A1609235E4CA}"/>
              </a:ext>
            </a:extLst>
          </p:cNvPr>
          <p:cNvSpPr txBox="1"/>
          <p:nvPr/>
        </p:nvSpPr>
        <p:spPr>
          <a:xfrm>
            <a:off x="337351" y="512710"/>
            <a:ext cx="2849732" cy="3046988"/>
          </a:xfrm>
          <a:prstGeom prst="rect">
            <a:avLst/>
          </a:prstGeom>
          <a:noFill/>
        </p:spPr>
        <p:txBody>
          <a:bodyPr wrap="square" rtlCol="0">
            <a:spAutoFit/>
          </a:bodyPr>
          <a:lstStyle/>
          <a:p>
            <a:r>
              <a:rPr lang="zh-CN" altLang="zh-CN" sz="3200" kern="0" dirty="0">
                <a:effectLst/>
                <a:ea typeface="宋体" panose="02010600030101010101" pitchFamily="2" charset="-122"/>
                <a:cs typeface="宋体" panose="02010600030101010101" pitchFamily="2" charset="-122"/>
              </a:rPr>
              <a:t>获取用户个人图片主页图片信息</a:t>
            </a:r>
            <a:r>
              <a:rPr lang="en-US" altLang="zh-CN" sz="3200" kern="0" dirty="0">
                <a:effectLst/>
                <a:ea typeface="宋体" panose="02010600030101010101" pitchFamily="2" charset="-122"/>
                <a:cs typeface="宋体" panose="02010600030101010101" pitchFamily="2" charset="-122"/>
              </a:rPr>
              <a:t>(</a:t>
            </a:r>
            <a:r>
              <a:rPr lang="zh-CN" altLang="zh-CN" sz="3200" kern="0" dirty="0">
                <a:effectLst/>
                <a:ea typeface="宋体" panose="02010600030101010101" pitchFamily="2" charset="-122"/>
                <a:cs typeface="宋体" panose="02010600030101010101" pitchFamily="2" charset="-122"/>
              </a:rPr>
              <a:t>个人图片主页</a:t>
            </a:r>
            <a:r>
              <a:rPr lang="en-US" altLang="zh-CN" sz="3200" kern="0" dirty="0">
                <a:effectLst/>
                <a:ea typeface="宋体" panose="02010600030101010101" pitchFamily="2" charset="-122"/>
                <a:cs typeface="宋体" panose="02010600030101010101" pitchFamily="2" charset="-122"/>
              </a:rPr>
              <a:t>)</a:t>
            </a:r>
            <a:r>
              <a:rPr lang="en-US" altLang="zh-CN" sz="3200" kern="0" dirty="0">
                <a:effectLst/>
                <a:highlight>
                  <a:srgbClr val="00FFFF"/>
                </a:highlight>
                <a:ea typeface="宋体" panose="02010600030101010101" pitchFamily="2" charset="-122"/>
                <a:cs typeface="宋体" panose="02010600030101010101" pitchFamily="2" charset="-122"/>
              </a:rPr>
              <a:t> GET</a:t>
            </a:r>
            <a:r>
              <a:rPr lang="en-US" altLang="zh-CN" sz="3200" kern="0" dirty="0">
                <a:effectLst/>
                <a:ea typeface="宋体" panose="02010600030101010101" pitchFamily="2" charset="-122"/>
                <a:cs typeface="宋体" panose="02010600030101010101" pitchFamily="2" charset="-122"/>
              </a:rPr>
              <a:t> /Account/</a:t>
            </a:r>
            <a:r>
              <a:rPr lang="en-US" altLang="zh-CN" sz="3200" kern="0" dirty="0" err="1">
                <a:effectLst/>
                <a:ea typeface="宋体" panose="02010600030101010101" pitchFamily="2" charset="-122"/>
                <a:cs typeface="宋体" panose="02010600030101010101" pitchFamily="2" charset="-122"/>
              </a:rPr>
              <a:t>getProfilePicture</a:t>
            </a:r>
            <a:endParaRPr lang="zh-CN" altLang="en-US" sz="3200" dirty="0"/>
          </a:p>
        </p:txBody>
      </p:sp>
      <p:sp>
        <p:nvSpPr>
          <p:cNvPr id="36" name="文本框 35">
            <a:extLst>
              <a:ext uri="{FF2B5EF4-FFF2-40B4-BE49-F238E27FC236}">
                <a16:creationId xmlns:a16="http://schemas.microsoft.com/office/drawing/2014/main" id="{3629671A-E445-41B2-AC90-3FBAF3B79D70}"/>
              </a:ext>
            </a:extLst>
          </p:cNvPr>
          <p:cNvSpPr txBox="1"/>
          <p:nvPr/>
        </p:nvSpPr>
        <p:spPr>
          <a:xfrm>
            <a:off x="3187083" y="512710"/>
            <a:ext cx="9144740" cy="7017306"/>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王佳铭那个个人主页的图片列表。</a:t>
            </a:r>
            <a:endParaRPr lang="en-US"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endParaRPr lang="en-US"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r>
              <a:rPr lang="en-US" altLang="zh-CN" dirty="0">
                <a:latin typeface="宋体" panose="02010600030101010101" pitchFamily="2" charset="-122"/>
                <a:ea typeface="宋体" panose="02010600030101010101" pitchFamily="2" charset="-122"/>
                <a:cs typeface="宋体" panose="02010600030101010101" pitchFamily="2" charset="-122"/>
              </a:rPr>
              <a:t>Succes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是否成功。</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Upload:</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上传图片列表，</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Favorite:</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收藏图片列表。</a:t>
            </a: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这里只显示了一个。</a:t>
            </a: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pic>
        <p:nvPicPr>
          <p:cNvPr id="11" name="图片 10">
            <a:extLst>
              <a:ext uri="{FF2B5EF4-FFF2-40B4-BE49-F238E27FC236}">
                <a16:creationId xmlns:a16="http://schemas.microsoft.com/office/drawing/2014/main" id="{7BE50395-9AFD-494D-9497-9A3162120595}"/>
              </a:ext>
            </a:extLst>
          </p:cNvPr>
          <p:cNvPicPr/>
          <p:nvPr/>
        </p:nvPicPr>
        <p:blipFill>
          <a:blip r:embed="rId3"/>
          <a:stretch>
            <a:fillRect/>
          </a:stretch>
        </p:blipFill>
        <p:spPr>
          <a:xfrm>
            <a:off x="4953622" y="1555508"/>
            <a:ext cx="5274310" cy="3367702"/>
          </a:xfrm>
          <a:prstGeom prst="rect">
            <a:avLst/>
          </a:prstGeom>
        </p:spPr>
      </p:pic>
    </p:spTree>
    <p:custDataLst>
      <p:tags r:id="rId1"/>
    </p:custDataLst>
    <p:extLst>
      <p:ext uri="{BB962C8B-B14F-4D97-AF65-F5344CB8AC3E}">
        <p14:creationId xmlns:p14="http://schemas.microsoft.com/office/powerpoint/2010/main" val="8768663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a:extLst>
              <a:ext uri="{FF2B5EF4-FFF2-40B4-BE49-F238E27FC236}">
                <a16:creationId xmlns:a16="http://schemas.microsoft.com/office/drawing/2014/main" id="{35906A0F-3BB4-457E-B956-7ECFEB40B9CD}"/>
              </a:ext>
            </a:extLst>
          </p:cNvPr>
          <p:cNvGrpSpPr/>
          <p:nvPr/>
        </p:nvGrpSpPr>
        <p:grpSpPr>
          <a:xfrm>
            <a:off x="188947" y="29932"/>
            <a:ext cx="2604013" cy="4234073"/>
            <a:chOff x="3420419" y="1128040"/>
            <a:chExt cx="2604013" cy="4234073"/>
          </a:xfrm>
        </p:grpSpPr>
        <p:sp>
          <p:nvSpPr>
            <p:cNvPr id="27" name="箭头: 环形 26">
              <a:extLst>
                <a:ext uri="{FF2B5EF4-FFF2-40B4-BE49-F238E27FC236}">
                  <a16:creationId xmlns:a16="http://schemas.microsoft.com/office/drawing/2014/main" id="{C40C812D-C78D-4A19-9525-7B4C2045D2AC}"/>
                </a:ext>
              </a:extLst>
            </p:cNvPr>
            <p:cNvSpPr/>
            <p:nvPr/>
          </p:nvSpPr>
          <p:spPr>
            <a:xfrm>
              <a:off x="3986459" y="1128040"/>
              <a:ext cx="2037973" cy="2038283"/>
            </a:xfrm>
            <a:prstGeom prst="circularArrow">
              <a:avLst>
                <a:gd name="adj1" fmla="val 10980"/>
                <a:gd name="adj2" fmla="val 1142322"/>
                <a:gd name="adj3" fmla="val 4500000"/>
                <a:gd name="adj4" fmla="val 108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形状 28">
              <a:extLst>
                <a:ext uri="{FF2B5EF4-FFF2-40B4-BE49-F238E27FC236}">
                  <a16:creationId xmlns:a16="http://schemas.microsoft.com/office/drawing/2014/main" id="{F9A45460-3D6F-4150-9220-89E6D039522F}"/>
                </a:ext>
              </a:extLst>
            </p:cNvPr>
            <p:cNvSpPr/>
            <p:nvPr/>
          </p:nvSpPr>
          <p:spPr>
            <a:xfrm>
              <a:off x="3420419" y="2299184"/>
              <a:ext cx="2037973" cy="2038283"/>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31" name="空心弧 30">
              <a:extLst>
                <a:ext uri="{FF2B5EF4-FFF2-40B4-BE49-F238E27FC236}">
                  <a16:creationId xmlns:a16="http://schemas.microsoft.com/office/drawing/2014/main" id="{E7B9D098-0090-4A4E-BB0F-792F5C60D8D8}"/>
                </a:ext>
              </a:extLst>
            </p:cNvPr>
            <p:cNvSpPr/>
            <p:nvPr/>
          </p:nvSpPr>
          <p:spPr>
            <a:xfrm>
              <a:off x="4131509" y="3610477"/>
              <a:ext cx="1750934" cy="1751636"/>
            </a:xfrm>
            <a:prstGeom prst="blockArc">
              <a:avLst>
                <a:gd name="adj1" fmla="val 13500000"/>
                <a:gd name="adj2" fmla="val 10800000"/>
                <a:gd name="adj3" fmla="val 1274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4" name="文本框 33">
            <a:extLst>
              <a:ext uri="{FF2B5EF4-FFF2-40B4-BE49-F238E27FC236}">
                <a16:creationId xmlns:a16="http://schemas.microsoft.com/office/drawing/2014/main" id="{01A9A715-9F50-470D-B754-A1609235E4CA}"/>
              </a:ext>
            </a:extLst>
          </p:cNvPr>
          <p:cNvSpPr txBox="1"/>
          <p:nvPr/>
        </p:nvSpPr>
        <p:spPr>
          <a:xfrm>
            <a:off x="337351" y="512710"/>
            <a:ext cx="2849732" cy="3046988"/>
          </a:xfrm>
          <a:prstGeom prst="rect">
            <a:avLst/>
          </a:prstGeom>
          <a:noFill/>
        </p:spPr>
        <p:txBody>
          <a:bodyPr wrap="square" rtlCol="0">
            <a:spAutoFit/>
          </a:bodyPr>
          <a:lstStyle/>
          <a:p>
            <a:pPr algn="just">
              <a:spcBef>
                <a:spcPts val="1300"/>
              </a:spcBef>
              <a:spcAft>
                <a:spcPts val="1300"/>
              </a:spcAft>
            </a:pPr>
            <a:r>
              <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用户的关注和取消关注 </a:t>
            </a:r>
            <a:r>
              <a:rPr lang="en-US" altLang="zh-CN" sz="3200" b="1" kern="100" dirty="0" err="1">
                <a:effectLst/>
                <a:latin typeface="等线 Light" panose="02010600030101010101" pitchFamily="2" charset="-122"/>
                <a:ea typeface="等线 Light" panose="02010600030101010101" pitchFamily="2" charset="-122"/>
                <a:cs typeface="Times New Roman" panose="02020603050405020304" pitchFamily="18" charset="0"/>
              </a:rPr>
              <a:t>followUser</a:t>
            </a:r>
            <a:r>
              <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 </a:t>
            </a:r>
            <a:r>
              <a:rPr lang="en-US" altLang="zh-CN" sz="3200" b="1" kern="100" dirty="0">
                <a:effectLst/>
                <a:highlight>
                  <a:srgbClr val="00FF00"/>
                </a:highlight>
                <a:latin typeface="等线 Light" panose="02010600030101010101" pitchFamily="2" charset="-122"/>
                <a:ea typeface="等线 Light" panose="02010600030101010101" pitchFamily="2" charset="-122"/>
                <a:cs typeface="Times New Roman" panose="02020603050405020304" pitchFamily="18" charset="0"/>
              </a:rPr>
              <a:t>POST</a:t>
            </a:r>
            <a:r>
              <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 /Account/</a:t>
            </a:r>
            <a:r>
              <a:rPr lang="en-US" altLang="zh-CN" sz="3200" b="1" kern="100" dirty="0" err="1">
                <a:effectLst/>
                <a:latin typeface="等线 Light" panose="02010600030101010101" pitchFamily="2" charset="-122"/>
                <a:ea typeface="等线 Light" panose="02010600030101010101" pitchFamily="2" charset="-122"/>
                <a:cs typeface="Times New Roman" panose="02020603050405020304" pitchFamily="18" charset="0"/>
              </a:rPr>
              <a:t>followUser</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36" name="文本框 35">
            <a:extLst>
              <a:ext uri="{FF2B5EF4-FFF2-40B4-BE49-F238E27FC236}">
                <a16:creationId xmlns:a16="http://schemas.microsoft.com/office/drawing/2014/main" id="{3629671A-E445-41B2-AC90-3FBAF3B79D70}"/>
              </a:ext>
            </a:extLst>
          </p:cNvPr>
          <p:cNvSpPr txBox="1"/>
          <p:nvPr/>
        </p:nvSpPr>
        <p:spPr>
          <a:xfrm>
            <a:off x="3187083" y="710213"/>
            <a:ext cx="9144740" cy="4205447"/>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通过该接口可以实现某用户对另一用户的关注，接口将关注和取消关注整合为一体：若已经关注那么使用接口后则取消关注，若没有关注则使用后关注用户</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aram]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粉丝</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fans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被关注者</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follow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msg"</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Operation Don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p>
          <a:p>
            <a:pPr>
              <a:lnSpc>
                <a:spcPts val="1350"/>
              </a:lnSpc>
            </a:pP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Msg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信息</a:t>
            </a: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22470949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a:extLst>
              <a:ext uri="{FF2B5EF4-FFF2-40B4-BE49-F238E27FC236}">
                <a16:creationId xmlns:a16="http://schemas.microsoft.com/office/drawing/2014/main" id="{35906A0F-3BB4-457E-B956-7ECFEB40B9CD}"/>
              </a:ext>
            </a:extLst>
          </p:cNvPr>
          <p:cNvGrpSpPr/>
          <p:nvPr/>
        </p:nvGrpSpPr>
        <p:grpSpPr>
          <a:xfrm>
            <a:off x="188947" y="29932"/>
            <a:ext cx="2604013" cy="4234073"/>
            <a:chOff x="3420419" y="1128040"/>
            <a:chExt cx="2604013" cy="4234073"/>
          </a:xfrm>
        </p:grpSpPr>
        <p:sp>
          <p:nvSpPr>
            <p:cNvPr id="27" name="箭头: 环形 26">
              <a:extLst>
                <a:ext uri="{FF2B5EF4-FFF2-40B4-BE49-F238E27FC236}">
                  <a16:creationId xmlns:a16="http://schemas.microsoft.com/office/drawing/2014/main" id="{C40C812D-C78D-4A19-9525-7B4C2045D2AC}"/>
                </a:ext>
              </a:extLst>
            </p:cNvPr>
            <p:cNvSpPr/>
            <p:nvPr/>
          </p:nvSpPr>
          <p:spPr>
            <a:xfrm>
              <a:off x="3986459" y="1128040"/>
              <a:ext cx="2037973" cy="2038283"/>
            </a:xfrm>
            <a:prstGeom prst="circularArrow">
              <a:avLst>
                <a:gd name="adj1" fmla="val 10980"/>
                <a:gd name="adj2" fmla="val 1142322"/>
                <a:gd name="adj3" fmla="val 4500000"/>
                <a:gd name="adj4" fmla="val 108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形状 28">
              <a:extLst>
                <a:ext uri="{FF2B5EF4-FFF2-40B4-BE49-F238E27FC236}">
                  <a16:creationId xmlns:a16="http://schemas.microsoft.com/office/drawing/2014/main" id="{F9A45460-3D6F-4150-9220-89E6D039522F}"/>
                </a:ext>
              </a:extLst>
            </p:cNvPr>
            <p:cNvSpPr/>
            <p:nvPr/>
          </p:nvSpPr>
          <p:spPr>
            <a:xfrm>
              <a:off x="3420419" y="2299184"/>
              <a:ext cx="2037973" cy="2038283"/>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31" name="空心弧 30">
              <a:extLst>
                <a:ext uri="{FF2B5EF4-FFF2-40B4-BE49-F238E27FC236}">
                  <a16:creationId xmlns:a16="http://schemas.microsoft.com/office/drawing/2014/main" id="{E7B9D098-0090-4A4E-BB0F-792F5C60D8D8}"/>
                </a:ext>
              </a:extLst>
            </p:cNvPr>
            <p:cNvSpPr/>
            <p:nvPr/>
          </p:nvSpPr>
          <p:spPr>
            <a:xfrm>
              <a:off x="4131509" y="3610477"/>
              <a:ext cx="1750934" cy="1751636"/>
            </a:xfrm>
            <a:prstGeom prst="blockArc">
              <a:avLst>
                <a:gd name="adj1" fmla="val 13500000"/>
                <a:gd name="adj2" fmla="val 10800000"/>
                <a:gd name="adj3" fmla="val 1274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34" name="文本框 33">
            <a:extLst>
              <a:ext uri="{FF2B5EF4-FFF2-40B4-BE49-F238E27FC236}">
                <a16:creationId xmlns:a16="http://schemas.microsoft.com/office/drawing/2014/main" id="{01A9A715-9F50-470D-B754-A1609235E4CA}"/>
              </a:ext>
            </a:extLst>
          </p:cNvPr>
          <p:cNvSpPr txBox="1"/>
          <p:nvPr/>
        </p:nvSpPr>
        <p:spPr>
          <a:xfrm>
            <a:off x="337351" y="512710"/>
            <a:ext cx="2849732" cy="3046988"/>
          </a:xfrm>
          <a:prstGeom prst="rect">
            <a:avLst/>
          </a:prstGeom>
          <a:noFill/>
        </p:spPr>
        <p:txBody>
          <a:bodyPr wrap="square" rtlCol="0">
            <a:spAutoFit/>
          </a:bodyPr>
          <a:lstStyle/>
          <a:p>
            <a:pPr algn="just">
              <a:spcBef>
                <a:spcPts val="1300"/>
              </a:spcBef>
              <a:spcAft>
                <a:spcPts val="1300"/>
              </a:spcAft>
            </a:pPr>
            <a:r>
              <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用户的关注和取消关注 </a:t>
            </a:r>
            <a:r>
              <a:rPr lang="en-US" altLang="zh-CN" sz="3200" b="1" kern="100" dirty="0" err="1">
                <a:effectLst/>
                <a:latin typeface="等线 Light" panose="02010600030101010101" pitchFamily="2" charset="-122"/>
                <a:ea typeface="等线 Light" panose="02010600030101010101" pitchFamily="2" charset="-122"/>
                <a:cs typeface="Times New Roman" panose="02020603050405020304" pitchFamily="18" charset="0"/>
              </a:rPr>
              <a:t>followUser</a:t>
            </a:r>
            <a:r>
              <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 </a:t>
            </a:r>
            <a:r>
              <a:rPr lang="en-US" altLang="zh-CN" sz="3200" b="1" kern="100" dirty="0">
                <a:effectLst/>
                <a:highlight>
                  <a:srgbClr val="00FF00"/>
                </a:highlight>
                <a:latin typeface="等线 Light" panose="02010600030101010101" pitchFamily="2" charset="-122"/>
                <a:ea typeface="等线 Light" panose="02010600030101010101" pitchFamily="2" charset="-122"/>
                <a:cs typeface="Times New Roman" panose="02020603050405020304" pitchFamily="18" charset="0"/>
              </a:rPr>
              <a:t>POST</a:t>
            </a:r>
            <a:r>
              <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 /Account/</a:t>
            </a:r>
            <a:r>
              <a:rPr lang="en-US" altLang="zh-CN" sz="3200" b="1" kern="100" dirty="0" err="1">
                <a:effectLst/>
                <a:latin typeface="等线 Light" panose="02010600030101010101" pitchFamily="2" charset="-122"/>
                <a:ea typeface="等线 Light" panose="02010600030101010101" pitchFamily="2" charset="-122"/>
                <a:cs typeface="Times New Roman" panose="02020603050405020304" pitchFamily="18" charset="0"/>
              </a:rPr>
              <a:t>followUser</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36" name="文本框 35">
            <a:extLst>
              <a:ext uri="{FF2B5EF4-FFF2-40B4-BE49-F238E27FC236}">
                <a16:creationId xmlns:a16="http://schemas.microsoft.com/office/drawing/2014/main" id="{3629671A-E445-41B2-AC90-3FBAF3B79D70}"/>
              </a:ext>
            </a:extLst>
          </p:cNvPr>
          <p:cNvSpPr txBox="1"/>
          <p:nvPr/>
        </p:nvSpPr>
        <p:spPr>
          <a:xfrm>
            <a:off x="3187083" y="710213"/>
            <a:ext cx="9144740" cy="4205447"/>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通过该接口可以实现某用户对另一用户的关注，接口将关注和取消关注整合为一体：若已经关注那么使用接口后则取消关注，若没有关注则使用后关注用户</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aram]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粉丝</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fans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被关注者</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follow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msg"</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Operation Don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p>
          <a:p>
            <a:pPr>
              <a:lnSpc>
                <a:spcPts val="1350"/>
              </a:lnSpc>
            </a:pP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Msg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信息</a:t>
            </a: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3525748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项目概述</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883904" y="2437747"/>
            <a:ext cx="1023516" cy="889909"/>
          </a:xfrm>
          <a:prstGeom prst="rect">
            <a:avLst/>
          </a:prstGeom>
          <a:noFill/>
          <a:ln w="117475">
            <a:noFill/>
          </a:ln>
        </p:spPr>
        <p:txBody>
          <a:bodyPr wrap="none" rtlCol="0">
            <a:prstTxWarp prst="textPlain">
              <a:avLst/>
            </a:prstTxWarp>
            <a:spAutoFit/>
          </a:bodyPr>
          <a:lstStyle/>
          <a:p>
            <a:r>
              <a:rPr lang="en-US" altLang="zh-CN"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rPr>
              <a:t>/</a:t>
            </a:r>
            <a:r>
              <a:rPr lang="en-US" altLang="zh-CN" sz="100"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rPr>
              <a:t> </a:t>
            </a:r>
            <a:r>
              <a:rPr lang="en-US" altLang="zh-CN"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rPr>
              <a:t>01</a:t>
            </a:r>
            <a:endParaRPr lang="zh-CN" altLang="en-US"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856475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extLst>
              <p:ext uri="{D42A27DB-BD31-4B8C-83A1-F6EECF244321}">
                <p14:modId xmlns:p14="http://schemas.microsoft.com/office/powerpoint/2010/main" val="1405726056"/>
              </p:ext>
            </p:extLst>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19355" y="1696210"/>
            <a:ext cx="2849732" cy="3396571"/>
          </a:xfrm>
          <a:prstGeom prst="rect">
            <a:avLst/>
          </a:prstGeom>
          <a:noFill/>
        </p:spPr>
        <p:txBody>
          <a:bodyPr wrap="square" rtlCol="0">
            <a:spAutoFit/>
          </a:bodyPr>
          <a:lstStyle/>
          <a:p>
            <a:pPr algn="just">
              <a:lnSpc>
                <a:spcPct val="173000"/>
              </a:lnSpc>
              <a:spcBef>
                <a:spcPts val="1300"/>
              </a:spcBef>
              <a:spcAft>
                <a:spcPts val="1300"/>
              </a:spcAft>
            </a:pPr>
            <a:r>
              <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赞和取消赞 </a:t>
            </a:r>
            <a:r>
              <a:rPr lang="en-US" altLang="zh-CN" sz="3200" b="1" kern="100" dirty="0">
                <a:effectLst/>
                <a:highlight>
                  <a:srgbClr val="00FF00"/>
                </a:highlight>
                <a:latin typeface="等线 Light" panose="02010600030101010101" pitchFamily="2" charset="-122"/>
                <a:ea typeface="等线 Light" panose="02010600030101010101" pitchFamily="2" charset="-122"/>
                <a:cs typeface="Times New Roman" panose="02020603050405020304" pitchFamily="18" charset="0"/>
              </a:rPr>
              <a:t>POST</a:t>
            </a:r>
            <a:r>
              <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 /Picture/</a:t>
            </a:r>
            <a:r>
              <a:rPr lang="en-US" altLang="zh-CN" sz="3200" b="1" kern="100" dirty="0" err="1">
                <a:effectLst/>
                <a:latin typeface="等线 Light" panose="02010600030101010101" pitchFamily="2" charset="-122"/>
                <a:ea typeface="等线 Light" panose="02010600030101010101" pitchFamily="2" charset="-122"/>
                <a:cs typeface="Times New Roman" panose="02020603050405020304" pitchFamily="18" charset="0"/>
              </a:rPr>
              <a:t>likePicture</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941685" y="665825"/>
            <a:ext cx="7830106" cy="4579908"/>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通过该接口可以实现某用户对图片的点赞，接口将点赞和取消点赞整合为一体：若已经点赞那么使用接口后则取消点赞，若没有点赞则使用后点赞图片</a:t>
            </a: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aram]</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点赞类型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type: string {LK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点赞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DL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点踩</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由于没有做点踩功能因此在请求时填写</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LK</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msg"</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Operation Don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Msg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信息</a:t>
            </a:r>
          </a:p>
          <a:p>
            <a:pPr>
              <a:lnSpc>
                <a:spcPts val="1350"/>
              </a:lnSpc>
            </a:pPr>
            <a:r>
              <a:rPr lang="en-US" altLang="zh-CN" sz="11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20964033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19355" y="1696210"/>
            <a:ext cx="2849732" cy="4035977"/>
          </a:xfrm>
          <a:prstGeom prst="rect">
            <a:avLst/>
          </a:prstGeom>
          <a:noFill/>
        </p:spPr>
        <p:txBody>
          <a:bodyPr wrap="square" rtlCol="0">
            <a:spAutoFit/>
          </a:bodyPr>
          <a:lstStyle/>
          <a:p>
            <a:pPr algn="just">
              <a:lnSpc>
                <a:spcPct val="173000"/>
              </a:lnSpc>
              <a:spcBef>
                <a:spcPts val="1300"/>
              </a:spcBef>
              <a:spcAft>
                <a:spcPts val="1300"/>
              </a:spcAft>
            </a:pPr>
            <a:r>
              <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收藏和取消收藏 </a:t>
            </a:r>
            <a:r>
              <a:rPr lang="en-US" altLang="zh-CN" sz="3200" b="1" kern="100" dirty="0">
                <a:effectLst/>
                <a:highlight>
                  <a:srgbClr val="00FF00"/>
                </a:highlight>
                <a:latin typeface="等线 Light" panose="02010600030101010101" pitchFamily="2" charset="-122"/>
                <a:ea typeface="等线 Light" panose="02010600030101010101" pitchFamily="2" charset="-122"/>
                <a:cs typeface="Times New Roman" panose="02020603050405020304" pitchFamily="18" charset="0"/>
              </a:rPr>
              <a:t>POST</a:t>
            </a:r>
            <a:r>
              <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 /Picture/</a:t>
            </a:r>
            <a:r>
              <a:rPr lang="en-US" altLang="zh-CN" sz="3200" b="1" kern="100" dirty="0" err="1">
                <a:effectLst/>
                <a:latin typeface="等线 Light" panose="02010600030101010101" pitchFamily="2" charset="-122"/>
                <a:ea typeface="等线 Light" panose="02010600030101010101" pitchFamily="2" charset="-122"/>
                <a:cs typeface="Times New Roman" panose="02020603050405020304" pitchFamily="18" charset="0"/>
              </a:rPr>
              <a:t>favoritePicture</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a:p>
            <a:r>
              <a:rPr lang="zh-CN" altLang="zh-CN" sz="24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24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941685" y="665825"/>
            <a:ext cx="7830106" cy="3857466"/>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通过该接口可以实现某用户对图片的收藏，接口将收藏和取消收藏整合为一体：若已经收藏那么使用接口后则取消收藏，若没有收藏则使用后收藏图片</a:t>
            </a: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aram]</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msg"</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Operation Don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Msg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信息</a:t>
            </a:r>
          </a:p>
        </p:txBody>
      </p:sp>
    </p:spTree>
    <p:custDataLst>
      <p:tags r:id="rId1"/>
    </p:custDataLst>
    <p:extLst>
      <p:ext uri="{BB962C8B-B14F-4D97-AF65-F5344CB8AC3E}">
        <p14:creationId xmlns:p14="http://schemas.microsoft.com/office/powerpoint/2010/main" val="14550519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45988" y="833275"/>
            <a:ext cx="2849732" cy="4245008"/>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评论和在原评论上进行修改 </a:t>
            </a:r>
            <a:r>
              <a:rPr lang="en-US" altLang="zh-CN" sz="3200" kern="0" dirty="0">
                <a:effectLst/>
                <a:highlight>
                  <a:srgbClr val="00FF00"/>
                </a:highlight>
                <a:ea typeface="宋体" panose="02010600030101010101" pitchFamily="2" charset="-122"/>
                <a:cs typeface="宋体" panose="02010600030101010101" pitchFamily="2" charset="-122"/>
              </a:rPr>
              <a:t>POST</a:t>
            </a:r>
            <a:r>
              <a:rPr lang="en-US" altLang="zh-CN" sz="3200" kern="0" dirty="0">
                <a:effectLst/>
                <a:ea typeface="宋体" panose="02010600030101010101" pitchFamily="2" charset="-122"/>
                <a:cs typeface="宋体" panose="02010600030101010101" pitchFamily="2" charset="-122"/>
              </a:rPr>
              <a:t> /Picture/comment</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941685" y="665825"/>
            <a:ext cx="7830106" cy="4579908"/>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该接口实现用户对图片进行评论，如果当前用户已经对该图片进行评论，则修改为新的评论，如果用户未进行评论，则创建新的评论记录。</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Body]{</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评论内容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conten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success"</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true</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9CDCFE"/>
                </a:solidFill>
                <a:effectLst/>
                <a:latin typeface="Consolas" panose="020B0609020204030204" pitchFamily="49" charset="0"/>
                <a:ea typeface="宋体" panose="02010600030101010101" pitchFamily="2" charset="-122"/>
                <a:cs typeface="宋体" panose="02010600030101010101" pitchFamily="2" charset="-122"/>
              </a:rPr>
              <a:t>"msg"</a:t>
            </a: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r>
              <a:rPr lang="en-US" altLang="zh-CN" sz="1800" dirty="0">
                <a:solidFill>
                  <a:srgbClr val="D4D4D4"/>
                </a:solidFill>
                <a:effectLst/>
                <a:latin typeface="Consolas" panose="020B0609020204030204" pitchFamily="49" charset="0"/>
                <a:ea typeface="宋体" panose="02010600030101010101" pitchFamily="2" charset="-122"/>
                <a:cs typeface="宋体" panose="02010600030101010101" pitchFamily="2" charset="-122"/>
              </a:rPr>
              <a:t> </a:t>
            </a:r>
            <a:r>
              <a:rPr lang="en-US" altLang="zh-CN" sz="1800" dirty="0">
                <a:solidFill>
                  <a:srgbClr val="CE9178"/>
                </a:solidFill>
                <a:effectLst/>
                <a:latin typeface="Consolas" panose="020B0609020204030204" pitchFamily="49" charset="0"/>
                <a:ea typeface="宋体" panose="02010600030101010101" pitchFamily="2" charset="-122"/>
                <a:cs typeface="宋体" panose="02010600030101010101" pitchFamily="2" charset="-122"/>
              </a:rPr>
              <a:t>"Operation Don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lnSpc>
                <a:spcPts val="1350"/>
              </a:lnSpc>
            </a:pPr>
            <a:r>
              <a:rPr lang="en-US" altLang="zh-CN" sz="1800" dirty="0">
                <a:solidFill>
                  <a:srgbClr val="DCDCDC"/>
                </a:solidFill>
                <a:effectLst/>
                <a:latin typeface="Consolas" panose="020B0609020204030204" pitchFamily="49" charset="0"/>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Msg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信息</a:t>
            </a:r>
          </a:p>
        </p:txBody>
      </p:sp>
    </p:spTree>
    <p:custDataLst>
      <p:tags r:id="rId1"/>
    </p:custDataLst>
    <p:extLst>
      <p:ext uri="{BB962C8B-B14F-4D97-AF65-F5344CB8AC3E}">
        <p14:creationId xmlns:p14="http://schemas.microsoft.com/office/powerpoint/2010/main" val="8631403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19355" y="1696210"/>
            <a:ext cx="2849732" cy="3396571"/>
          </a:xfrm>
          <a:prstGeom prst="rect">
            <a:avLst/>
          </a:prstGeom>
          <a:noFill/>
        </p:spPr>
        <p:txBody>
          <a:bodyPr wrap="square" rtlCol="0">
            <a:spAutoFit/>
          </a:bodyPr>
          <a:lstStyle/>
          <a:p>
            <a:pPr algn="just">
              <a:lnSpc>
                <a:spcPct val="173000"/>
              </a:lnSpc>
              <a:spcBef>
                <a:spcPts val="1300"/>
              </a:spcBef>
              <a:spcAft>
                <a:spcPts val="1300"/>
              </a:spcAft>
            </a:pPr>
            <a:r>
              <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获取当前图片所有评论 </a:t>
            </a:r>
            <a:r>
              <a:rPr lang="en-US" altLang="zh-CN" sz="3200" b="1" kern="100" dirty="0">
                <a:effectLst/>
                <a:highlight>
                  <a:srgbClr val="00FFFF"/>
                </a:highlight>
                <a:latin typeface="等线 Light" panose="02010600030101010101" pitchFamily="2" charset="-122"/>
                <a:ea typeface="等线 Light" panose="02010600030101010101" pitchFamily="2" charset="-122"/>
                <a:cs typeface="Times New Roman" panose="02020603050405020304" pitchFamily="18" charset="0"/>
              </a:rPr>
              <a:t>GET</a:t>
            </a:r>
            <a:r>
              <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 /Picture/</a:t>
            </a:r>
            <a:r>
              <a:rPr lang="en-US" altLang="zh-CN" sz="3200" b="1" kern="100" dirty="0" err="1">
                <a:effectLst/>
                <a:latin typeface="等线 Light" panose="02010600030101010101" pitchFamily="2" charset="-122"/>
                <a:ea typeface="等线 Light" panose="02010600030101010101" pitchFamily="2" charset="-122"/>
                <a:cs typeface="Times New Roman" panose="02020603050405020304" pitchFamily="18" charset="0"/>
              </a:rPr>
              <a:t>getAllComment</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941685" y="665825"/>
            <a:ext cx="7830106" cy="5632311"/>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通过参数获取当前图片所有的评论列表</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Lis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aram]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数据为一个列表</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commentNum</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评论总数</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评论者</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username:</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名</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_commen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评论</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likes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评论点赞数</a:t>
            </a:r>
            <a:endParaRPr lang="en-US" altLang="zh-CN" b="1" dirty="0">
              <a:latin typeface="宋体" panose="02010600030101010101" pitchFamily="2" charset="-122"/>
              <a:ea typeface="宋体" panose="02010600030101010101" pitchFamily="2" charset="-122"/>
              <a:cs typeface="宋体" panose="02010600030101010101" pitchFamily="2" charset="-122"/>
            </a:endParaRPr>
          </a:p>
        </p:txBody>
      </p:sp>
      <p:pic>
        <p:nvPicPr>
          <p:cNvPr id="6" name="图片 5">
            <a:extLst>
              <a:ext uri="{FF2B5EF4-FFF2-40B4-BE49-F238E27FC236}">
                <a16:creationId xmlns:a16="http://schemas.microsoft.com/office/drawing/2014/main" id="{7D225CBB-ED93-46E3-8671-26333D7BCDBC}"/>
              </a:ext>
            </a:extLst>
          </p:cNvPr>
          <p:cNvPicPr/>
          <p:nvPr/>
        </p:nvPicPr>
        <p:blipFill>
          <a:blip r:embed="rId8"/>
          <a:stretch>
            <a:fillRect/>
          </a:stretch>
        </p:blipFill>
        <p:spPr>
          <a:xfrm>
            <a:off x="5657813" y="1967377"/>
            <a:ext cx="4587240" cy="2552700"/>
          </a:xfrm>
          <a:prstGeom prst="rect">
            <a:avLst/>
          </a:prstGeom>
        </p:spPr>
      </p:pic>
    </p:spTree>
    <p:custDataLst>
      <p:tags r:id="rId1"/>
    </p:custDataLst>
    <p:extLst>
      <p:ext uri="{BB962C8B-B14F-4D97-AF65-F5344CB8AC3E}">
        <p14:creationId xmlns:p14="http://schemas.microsoft.com/office/powerpoint/2010/main" val="23551447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248081" y="213244"/>
            <a:ext cx="2849732" cy="4245008"/>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获取用户图片页面相关信息 </a:t>
            </a:r>
            <a:r>
              <a:rPr lang="en-US" altLang="zh-CN" sz="3200" kern="0" dirty="0">
                <a:effectLst/>
                <a:highlight>
                  <a:srgbClr val="00FFFF"/>
                </a:highlight>
                <a:ea typeface="宋体" panose="02010600030101010101" pitchFamily="2" charset="-122"/>
                <a:cs typeface="宋体" panose="02010600030101010101" pitchFamily="2" charset="-122"/>
              </a:rPr>
              <a:t>GET</a:t>
            </a:r>
            <a:r>
              <a:rPr lang="en-US" altLang="zh-CN" sz="3200" kern="0" dirty="0">
                <a:effectLst/>
                <a:ea typeface="宋体" panose="02010600030101010101" pitchFamily="2" charset="-122"/>
                <a:cs typeface="宋体" panose="02010600030101010101" pitchFamily="2" charset="-122"/>
              </a:rPr>
              <a:t> /Picture/</a:t>
            </a:r>
            <a:r>
              <a:rPr lang="en-US" altLang="zh-CN" sz="3200" kern="0" dirty="0" err="1">
                <a:effectLst/>
                <a:ea typeface="宋体" panose="02010600030101010101" pitchFamily="2" charset="-122"/>
                <a:cs typeface="宋体" panose="02010600030101010101" pitchFamily="2" charset="-122"/>
              </a:rPr>
              <a:t>getPicViewInfo</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4036380" y="0"/>
            <a:ext cx="7830106" cy="5078313"/>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介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该接口用于获得某用户访问某图片界面时基本的信息。</a:t>
            </a: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需要指定用户因为不同用户看到的评论和是否关注发布者是不一样的。</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aram]</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en-US" altLang="zh-CN" sz="1800" dirty="0">
              <a:effectLst/>
              <a:latin typeface="宋体" panose="02010600030101010101" pitchFamily="2" charset="-122"/>
              <a:ea typeface="宋体" panose="02010600030101010101" pitchFamily="2" charset="-122"/>
              <a:cs typeface="宋体" panose="02010600030101010101" pitchFamily="2" charset="-122"/>
            </a:endParaRPr>
          </a:p>
        </p:txBody>
      </p:sp>
      <p:pic>
        <p:nvPicPr>
          <p:cNvPr id="6" name="图片 5">
            <a:extLst>
              <a:ext uri="{FF2B5EF4-FFF2-40B4-BE49-F238E27FC236}">
                <a16:creationId xmlns:a16="http://schemas.microsoft.com/office/drawing/2014/main" id="{ECAD6274-BA49-4290-8A4F-BB4B8FE3D959}"/>
              </a:ext>
            </a:extLst>
          </p:cNvPr>
          <p:cNvPicPr/>
          <p:nvPr/>
        </p:nvPicPr>
        <p:blipFill>
          <a:blip r:embed="rId8"/>
          <a:stretch>
            <a:fillRect/>
          </a:stretch>
        </p:blipFill>
        <p:spPr>
          <a:xfrm>
            <a:off x="6313133" y="1420873"/>
            <a:ext cx="3276600" cy="3489960"/>
          </a:xfrm>
          <a:prstGeom prst="rect">
            <a:avLst/>
          </a:prstGeom>
        </p:spPr>
      </p:pic>
      <p:sp>
        <p:nvSpPr>
          <p:cNvPr id="2" name="文本框 1">
            <a:extLst>
              <a:ext uri="{FF2B5EF4-FFF2-40B4-BE49-F238E27FC236}">
                <a16:creationId xmlns:a16="http://schemas.microsoft.com/office/drawing/2014/main" id="{B17726D6-2799-4866-A0E7-A45158BF3B39}"/>
              </a:ext>
            </a:extLst>
          </p:cNvPr>
          <p:cNvSpPr txBox="1"/>
          <p:nvPr/>
        </p:nvSpPr>
        <p:spPr>
          <a:xfrm>
            <a:off x="2956264" y="3535675"/>
            <a:ext cx="4616389" cy="3323987"/>
          </a:xfrm>
          <a:prstGeom prst="rect">
            <a:avLst/>
          </a:prstGeom>
          <a:noFill/>
        </p:spPr>
        <p:txBody>
          <a:bodyPr wrap="square" rtlCol="0">
            <a:spAutoFit/>
          </a:bodyPr>
          <a:lstStyle/>
          <a:p>
            <a:r>
              <a:rPr lang="en-US" altLang="zh-CN" sz="1400" dirty="0">
                <a:effectLst/>
                <a:latin typeface="宋体" panose="02010600030101010101" pitchFamily="2" charset="-122"/>
                <a:ea typeface="宋体" panose="02010600030101010101" pitchFamily="2" charset="-122"/>
                <a:cs typeface="宋体" panose="02010600030101010101" pitchFamily="2" charset="-122"/>
              </a:rPr>
              <a:t>Success :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PicUrl</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图片来源</a:t>
            </a:r>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Url</a:t>
            </a:r>
            <a:endParaRPr lang="zh-CN" altLang="zh-CN" sz="14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publisherFollow</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是否关注图片发布者</a:t>
            </a: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publisherId</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图片发布者的</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4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picLike</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是否点赞该图片</a:t>
            </a: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picStar</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是否收藏该图片</a:t>
            </a: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picHeight</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a:t>
            </a:r>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picWidth</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图片长</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宽</a:t>
            </a: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picInfo</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图片信息介绍</a:t>
            </a: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picTags</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图片包含</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Tag</a:t>
            </a:r>
            <a:endParaRPr lang="zh-CN" altLang="zh-CN" sz="14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hasdownload</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是否观看者已经下载</a:t>
            </a: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uploadtime</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上传时间</a:t>
            </a: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uploadName</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上传作者的昵称</a:t>
            </a:r>
          </a:p>
          <a:p>
            <a:r>
              <a:rPr lang="en-US" altLang="zh-CN" sz="1400" dirty="0">
                <a:effectLst/>
                <a:latin typeface="宋体" panose="02010600030101010101" pitchFamily="2" charset="-122"/>
                <a:ea typeface="宋体" panose="02010600030101010101" pitchFamily="2" charset="-122"/>
                <a:cs typeface="宋体" panose="02010600030101010101" pitchFamily="2" charset="-122"/>
              </a:rPr>
              <a:t>price:</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价格。</a:t>
            </a:r>
          </a:p>
          <a:p>
            <a:r>
              <a:rPr lang="en-US" altLang="zh-CN" sz="1400" dirty="0" err="1">
                <a:effectLst/>
                <a:latin typeface="宋体" panose="02010600030101010101" pitchFamily="2" charset="-122"/>
                <a:ea typeface="宋体" panose="02010600030101010101" pitchFamily="2" charset="-122"/>
                <a:cs typeface="宋体" panose="02010600030101010101" pitchFamily="2" charset="-122"/>
              </a:rPr>
              <a:t>nowComment</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 : </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当前用户对该图片的评论</a:t>
            </a:r>
          </a:p>
          <a:p>
            <a:r>
              <a:rPr lang="zh-CN" altLang="zh-CN" sz="1400" dirty="0">
                <a:effectLst/>
                <a:latin typeface="宋体" panose="02010600030101010101" pitchFamily="2" charset="-122"/>
                <a:ea typeface="宋体" panose="02010600030101010101" pitchFamily="2" charset="-122"/>
                <a:cs typeface="宋体" panose="02010600030101010101" pitchFamily="2" charset="-122"/>
              </a:rPr>
              <a:t>后面新增</a:t>
            </a:r>
            <a:r>
              <a:rPr lang="en-US" altLang="zh-CN" sz="1400" dirty="0">
                <a:effectLst/>
                <a:latin typeface="宋体" panose="02010600030101010101" pitchFamily="2" charset="-122"/>
                <a:ea typeface="宋体" panose="02010600030101010101" pitchFamily="2" charset="-122"/>
                <a:cs typeface="宋体" panose="02010600030101010101" pitchFamily="2" charset="-122"/>
              </a:rPr>
              <a:t>downloads</a:t>
            </a:r>
            <a:r>
              <a:rPr lang="zh-CN" altLang="zh-CN" sz="1400" dirty="0">
                <a:effectLst/>
                <a:latin typeface="宋体" panose="02010600030101010101" pitchFamily="2" charset="-122"/>
                <a:ea typeface="宋体" panose="02010600030101010101" pitchFamily="2" charset="-122"/>
                <a:cs typeface="宋体" panose="02010600030101010101" pitchFamily="2" charset="-122"/>
              </a:rPr>
              <a:t>下载量</a:t>
            </a:r>
          </a:p>
        </p:txBody>
      </p:sp>
    </p:spTree>
    <p:custDataLst>
      <p:tags r:id="rId1"/>
    </p:custDataLst>
    <p:extLst>
      <p:ext uri="{BB962C8B-B14F-4D97-AF65-F5344CB8AC3E}">
        <p14:creationId xmlns:p14="http://schemas.microsoft.com/office/powerpoint/2010/main" val="1829372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19355" y="1696210"/>
            <a:ext cx="2849732" cy="3396571"/>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上传图片 </a:t>
            </a:r>
            <a:r>
              <a:rPr lang="en-US" altLang="zh-CN" sz="3200" kern="0" dirty="0">
                <a:effectLst/>
                <a:highlight>
                  <a:srgbClr val="00FF00"/>
                </a:highlight>
                <a:ea typeface="宋体" panose="02010600030101010101" pitchFamily="2" charset="-122"/>
                <a:cs typeface="宋体" panose="02010600030101010101" pitchFamily="2" charset="-122"/>
              </a:rPr>
              <a:t>POST</a:t>
            </a:r>
            <a:r>
              <a:rPr lang="en-US" altLang="zh-CN" sz="3200" kern="0" dirty="0">
                <a:effectLst/>
                <a:ea typeface="宋体" panose="02010600030101010101" pitchFamily="2" charset="-122"/>
                <a:cs typeface="宋体" panose="02010600030101010101" pitchFamily="2" charset="-122"/>
              </a:rPr>
              <a:t> /Account/Upload</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879541" y="665825"/>
            <a:ext cx="7830106" cy="5632311"/>
          </a:xfrm>
          <a:prstGeom prst="rect">
            <a:avLst/>
          </a:prstGeom>
          <a:noFill/>
        </p:spPr>
        <p:txBody>
          <a:bodyPr wrap="square">
            <a:spAutoFit/>
          </a:bodyPr>
          <a:lstStyle/>
          <a:p>
            <a:r>
              <a:rPr lang="zh-CN" altLang="en-US" sz="1800" b="1" dirty="0">
                <a:effectLst/>
                <a:latin typeface="宋体" panose="02010600030101010101" pitchFamily="2" charset="-122"/>
                <a:ea typeface="宋体" panose="02010600030101010101" pitchFamily="2" charset="-122"/>
                <a:cs typeface="宋体" panose="02010600030101010101" pitchFamily="2" charset="-122"/>
              </a:rPr>
              <a:t>介绍：</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上传图片的时候附加用户输入的</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ag</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和图片的相关介绍</a:t>
            </a:r>
            <a:r>
              <a:rPr lang="zh-CN" altLang="en-US" dirty="0">
                <a:latin typeface="宋体" panose="02010600030101010101" pitchFamily="2" charset="-122"/>
                <a:ea typeface="宋体" panose="02010600030101010101" pitchFamily="2" charset="-122"/>
                <a:cs typeface="宋体" panose="02010600030101010101" pitchFamily="2" charset="-122"/>
              </a:rPr>
              <a:t>、定价</a:t>
            </a:r>
            <a:endParaRPr lang="en-US" altLang="zh-CN" dirty="0">
              <a:latin typeface="宋体" panose="02010600030101010101" pitchFamily="2" charset="-122"/>
              <a:ea typeface="宋体" panose="02010600030101010101" pitchFamily="2" charset="-122"/>
              <a:cs typeface="宋体" panose="02010600030101010101" pitchFamily="2" charset="-122"/>
            </a:endParaRPr>
          </a:p>
          <a:p>
            <a:endParaRPr lang="en-US" altLang="zh-CN" dirty="0">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文件  </a:t>
            </a: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标签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a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标签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tag1]</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标签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ag2]</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附加说明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_info</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定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ric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值：</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是否成功</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Message</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文件个数和文件大小</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tureHeigh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高</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tureWidth</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宽</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tureURL</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在服务器上的地址</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ownTag</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所有的</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a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pic>
        <p:nvPicPr>
          <p:cNvPr id="6" name="图片 5">
            <a:extLst>
              <a:ext uri="{FF2B5EF4-FFF2-40B4-BE49-F238E27FC236}">
                <a16:creationId xmlns:a16="http://schemas.microsoft.com/office/drawing/2014/main" id="{611D86A4-7BB0-47E3-A867-3FE73481DC18}"/>
              </a:ext>
            </a:extLst>
          </p:cNvPr>
          <p:cNvPicPr/>
          <p:nvPr/>
        </p:nvPicPr>
        <p:blipFill>
          <a:blip r:embed="rId8"/>
          <a:stretch>
            <a:fillRect/>
          </a:stretch>
        </p:blipFill>
        <p:spPr>
          <a:xfrm>
            <a:off x="6798335" y="1384916"/>
            <a:ext cx="5274310" cy="3240349"/>
          </a:xfrm>
          <a:prstGeom prst="rect">
            <a:avLst/>
          </a:prstGeom>
        </p:spPr>
      </p:pic>
    </p:spTree>
    <p:custDataLst>
      <p:tags r:id="rId1"/>
    </p:custDataLst>
    <p:extLst>
      <p:ext uri="{BB962C8B-B14F-4D97-AF65-F5344CB8AC3E}">
        <p14:creationId xmlns:p14="http://schemas.microsoft.com/office/powerpoint/2010/main" val="34858333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420209" y="665825"/>
            <a:ext cx="2849732" cy="4245008"/>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下载图片</a:t>
            </a:r>
            <a:r>
              <a:rPr lang="en-US" altLang="zh-CN" sz="3200" kern="0" dirty="0">
                <a:effectLst/>
                <a:ea typeface="宋体" panose="02010600030101010101" pitchFamily="2" charset="-122"/>
                <a:cs typeface="宋体" panose="02010600030101010101" pitchFamily="2" charset="-122"/>
              </a:rPr>
              <a:t> Download </a:t>
            </a:r>
            <a:r>
              <a:rPr lang="en-US" altLang="zh-CN" sz="3200" kern="0" dirty="0">
                <a:effectLst/>
                <a:highlight>
                  <a:srgbClr val="00FFFF"/>
                </a:highlight>
                <a:ea typeface="宋体" panose="02010600030101010101" pitchFamily="2" charset="-122"/>
                <a:cs typeface="宋体" panose="02010600030101010101" pitchFamily="2" charset="-122"/>
              </a:rPr>
              <a:t>GET</a:t>
            </a:r>
            <a:r>
              <a:rPr lang="en-US" altLang="zh-CN" sz="3200" kern="0" dirty="0">
                <a:effectLst/>
                <a:ea typeface="宋体" panose="02010600030101010101" pitchFamily="2" charset="-122"/>
                <a:cs typeface="宋体" panose="02010600030101010101" pitchFamily="2" charset="-122"/>
              </a:rPr>
              <a:t> /Picture/Download</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648722" y="285649"/>
            <a:ext cx="7830106" cy="6186309"/>
          </a:xfrm>
          <a:prstGeom prst="rect">
            <a:avLst/>
          </a:prstGeom>
          <a:noFill/>
        </p:spPr>
        <p:txBody>
          <a:bodyPr wrap="square">
            <a:spAutoFit/>
          </a:bodyPr>
          <a:lstStyle/>
          <a:p>
            <a:r>
              <a:rPr lang="zh-CN" altLang="en-US" b="1" dirty="0">
                <a:latin typeface="宋体" panose="02010600030101010101" pitchFamily="2" charset="-122"/>
                <a:ea typeface="宋体" panose="02010600030101010101" pitchFamily="2" charset="-122"/>
                <a:cs typeface="宋体" panose="02010600030101010101" pitchFamily="2" charset="-122"/>
              </a:rPr>
              <a:t>介绍</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通过传输参数 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以及图片</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可以进行请求下载的操作，如果没有购买图片的记录，则进行购买图片，硬币数不足导致购买失败时不返回图片下载的</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rl</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如果是发布者下载或者钱包硬币能够购买图片，则消耗硬币返回图片下载的</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rl</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同时增加发布者的硬币数。</a:t>
            </a: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aram]</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 string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点赞类型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type: string {LK :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点赞 </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DL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点踩</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s</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由于没有做点踩功能因此在请求时填写</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LK</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成功时：</a:t>
            </a:r>
            <a:endParaRPr lang="en-US"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en-US" altLang="zh-CN" dirty="0">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操作成功状态</a:t>
            </a:r>
          </a:p>
          <a:p>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DownloadUrl</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下载图片</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url</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Msg </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返回信息</a:t>
            </a:r>
          </a:p>
          <a:p>
            <a:endParaRPr lang="en-US"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失败时</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Success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成功状态</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Msg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信息</a:t>
            </a:r>
            <a:endParaRPr lang="en-US" altLang="zh-CN" sz="1800" dirty="0">
              <a:effectLst/>
              <a:latin typeface="宋体" panose="02010600030101010101" pitchFamily="2" charset="-122"/>
              <a:ea typeface="宋体" panose="02010600030101010101" pitchFamily="2" charset="-122"/>
              <a:cs typeface="宋体" panose="02010600030101010101" pitchFamily="2" charset="-122"/>
            </a:endParaRPr>
          </a:p>
        </p:txBody>
      </p:sp>
      <p:pic>
        <p:nvPicPr>
          <p:cNvPr id="10" name="Picture 7">
            <a:extLst>
              <a:ext uri="{FF2B5EF4-FFF2-40B4-BE49-F238E27FC236}">
                <a16:creationId xmlns:a16="http://schemas.microsoft.com/office/drawing/2014/main" id="{104708AF-CA67-4B31-8A64-9ABA254CDBD8}"/>
              </a:ext>
            </a:extLst>
          </p:cNvPr>
          <p:cNvPicPr/>
          <p:nvPr/>
        </p:nvPicPr>
        <p:blipFill>
          <a:blip r:embed="rId8"/>
          <a:stretch>
            <a:fillRect/>
          </a:stretch>
        </p:blipFill>
        <p:spPr>
          <a:xfrm>
            <a:off x="5030193" y="3532800"/>
            <a:ext cx="5274310" cy="803910"/>
          </a:xfrm>
          <a:prstGeom prst="rect">
            <a:avLst/>
          </a:prstGeom>
        </p:spPr>
      </p:pic>
      <p:pic>
        <p:nvPicPr>
          <p:cNvPr id="11" name="Picture 8">
            <a:extLst>
              <a:ext uri="{FF2B5EF4-FFF2-40B4-BE49-F238E27FC236}">
                <a16:creationId xmlns:a16="http://schemas.microsoft.com/office/drawing/2014/main" id="{CEEA8D8C-0D68-4B76-8DCC-F649BF52D60E}"/>
              </a:ext>
            </a:extLst>
          </p:cNvPr>
          <p:cNvPicPr/>
          <p:nvPr/>
        </p:nvPicPr>
        <p:blipFill>
          <a:blip r:embed="rId9"/>
          <a:stretch>
            <a:fillRect/>
          </a:stretch>
        </p:blipFill>
        <p:spPr>
          <a:xfrm>
            <a:off x="6742153" y="5073448"/>
            <a:ext cx="3562350" cy="1114425"/>
          </a:xfrm>
          <a:prstGeom prst="rect">
            <a:avLst/>
          </a:prstGeom>
        </p:spPr>
      </p:pic>
    </p:spTree>
    <p:custDataLst>
      <p:tags r:id="rId1"/>
    </p:custDataLst>
    <p:extLst>
      <p:ext uri="{BB962C8B-B14F-4D97-AF65-F5344CB8AC3E}">
        <p14:creationId xmlns:p14="http://schemas.microsoft.com/office/powerpoint/2010/main" val="33490996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45988" y="833275"/>
            <a:ext cx="2849732" cy="4581895"/>
          </a:xfrm>
          <a:prstGeom prst="rect">
            <a:avLst/>
          </a:prstGeom>
          <a:noFill/>
        </p:spPr>
        <p:txBody>
          <a:bodyPr wrap="square" rtlCol="0">
            <a:spAutoFit/>
          </a:bodyPr>
          <a:lstStyle/>
          <a:p>
            <a:pPr algn="just">
              <a:lnSpc>
                <a:spcPct val="173000"/>
              </a:lnSpc>
              <a:spcBef>
                <a:spcPts val="1300"/>
              </a:spcBef>
              <a:spcAft>
                <a:spcPts val="1300"/>
              </a:spcAft>
            </a:pPr>
            <a:r>
              <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根据</a:t>
            </a:r>
            <a:r>
              <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tag</a:t>
            </a:r>
            <a:r>
              <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搜索图片 </a:t>
            </a:r>
            <a:endPar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a:p>
            <a:pPr algn="just">
              <a:lnSpc>
                <a:spcPct val="173000"/>
              </a:lnSpc>
              <a:spcBef>
                <a:spcPts val="1300"/>
              </a:spcBef>
              <a:spcAft>
                <a:spcPts val="1300"/>
              </a:spcAft>
            </a:pPr>
            <a:r>
              <a:rPr lang="en-US" altLang="zh-CN" sz="3200" b="1" kern="100" dirty="0">
                <a:effectLst/>
                <a:highlight>
                  <a:srgbClr val="00FFFF"/>
                </a:highlight>
                <a:latin typeface="等线 Light" panose="02010600030101010101" pitchFamily="2" charset="-122"/>
                <a:ea typeface="等线 Light" panose="02010600030101010101" pitchFamily="2" charset="-122"/>
                <a:cs typeface="Times New Roman" panose="02020603050405020304" pitchFamily="18" charset="0"/>
              </a:rPr>
              <a:t>GET</a:t>
            </a:r>
            <a:r>
              <a:rPr lang="en-US"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rPr>
              <a:t> /Picture/</a:t>
            </a:r>
            <a:r>
              <a:rPr lang="en-US" altLang="zh-CN" sz="3200" b="1" kern="100" dirty="0" err="1">
                <a:effectLst/>
                <a:latin typeface="等线 Light" panose="02010600030101010101" pitchFamily="2" charset="-122"/>
                <a:ea typeface="等线 Light" panose="02010600030101010101" pitchFamily="2" charset="-122"/>
                <a:cs typeface="Times New Roman" panose="02020603050405020304" pitchFamily="18" charset="0"/>
              </a:rPr>
              <a:t>searchByTag</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471169" y="0"/>
            <a:ext cx="5823751" cy="4801314"/>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说明：根据参数</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tag</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所有的拥有该</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tag</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的图片信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Params]</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Tag    </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tag</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Success: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成功状态</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returnList</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图片信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Id</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Url</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url</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ublisherId</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发布者</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ublisherName</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发布者昵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info: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信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likeNum</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获赞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starNum</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获收藏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commNum</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评论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pic>
        <p:nvPicPr>
          <p:cNvPr id="6" name="Picture 11">
            <a:extLst>
              <a:ext uri="{FF2B5EF4-FFF2-40B4-BE49-F238E27FC236}">
                <a16:creationId xmlns:a16="http://schemas.microsoft.com/office/drawing/2014/main" id="{1DF87F7F-2731-4D0A-8E93-CD7A3CC850A4}"/>
              </a:ext>
            </a:extLst>
          </p:cNvPr>
          <p:cNvPicPr/>
          <p:nvPr/>
        </p:nvPicPr>
        <p:blipFill>
          <a:blip r:embed="rId8"/>
          <a:stretch>
            <a:fillRect/>
          </a:stretch>
        </p:blipFill>
        <p:spPr>
          <a:xfrm>
            <a:off x="6445188" y="1349406"/>
            <a:ext cx="5746812" cy="5157925"/>
          </a:xfrm>
          <a:prstGeom prst="rect">
            <a:avLst/>
          </a:prstGeom>
        </p:spPr>
      </p:pic>
    </p:spTree>
    <p:custDataLst>
      <p:tags r:id="rId1"/>
    </p:custDataLst>
    <p:extLst>
      <p:ext uri="{BB962C8B-B14F-4D97-AF65-F5344CB8AC3E}">
        <p14:creationId xmlns:p14="http://schemas.microsoft.com/office/powerpoint/2010/main" val="6752529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45988" y="833275"/>
            <a:ext cx="2849732" cy="4578433"/>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获得三张图片信息 </a:t>
            </a:r>
            <a:endParaRPr lang="en-US" altLang="zh-CN" sz="3200" kern="0" dirty="0">
              <a:effectLst/>
              <a:ea typeface="宋体" panose="02010600030101010101" pitchFamily="2" charset="-122"/>
              <a:cs typeface="宋体" panose="02010600030101010101" pitchFamily="2" charset="-122"/>
            </a:endParaRPr>
          </a:p>
          <a:p>
            <a:pPr algn="just">
              <a:lnSpc>
                <a:spcPct val="173000"/>
              </a:lnSpc>
              <a:spcBef>
                <a:spcPts val="1300"/>
              </a:spcBef>
              <a:spcAft>
                <a:spcPts val="1300"/>
              </a:spcAft>
            </a:pPr>
            <a:r>
              <a:rPr lang="en-US" altLang="zh-CN" sz="3200" kern="0" dirty="0">
                <a:effectLst/>
                <a:highlight>
                  <a:srgbClr val="00FFFF"/>
                </a:highlight>
                <a:ea typeface="宋体" panose="02010600030101010101" pitchFamily="2" charset="-122"/>
                <a:cs typeface="宋体" panose="02010600030101010101" pitchFamily="2" charset="-122"/>
              </a:rPr>
              <a:t>GET</a:t>
            </a:r>
            <a:r>
              <a:rPr lang="en-US" altLang="zh-CN" sz="3200" kern="0" dirty="0">
                <a:effectLst/>
                <a:ea typeface="宋体" panose="02010600030101010101" pitchFamily="2" charset="-122"/>
                <a:cs typeface="宋体" panose="02010600030101010101" pitchFamily="2" charset="-122"/>
              </a:rPr>
              <a:t> /Picture/get3Pic</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742431" y="221941"/>
            <a:ext cx="7830106" cy="5078313"/>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说明：需要传已经取过的次数信息，然后以时间正序返回最新的不同三张图片</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Params]</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已请求次数 </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requestTimes</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n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Success: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成功状态</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returnList</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图片信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Id</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Url</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url</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ublisherId</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发布者</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ublisherName</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发布者昵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info: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信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likeNum</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获赞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starNum</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获收藏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commNum</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评论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39989509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45988" y="833275"/>
            <a:ext cx="2849732" cy="3393108"/>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第一回合上传 </a:t>
            </a:r>
            <a:r>
              <a:rPr lang="en-US" altLang="zh-CN" sz="3200" kern="0" dirty="0">
                <a:effectLst/>
                <a:highlight>
                  <a:srgbClr val="00FFFF"/>
                </a:highlight>
                <a:ea typeface="宋体" panose="02010600030101010101" pitchFamily="2" charset="-122"/>
                <a:cs typeface="宋体" panose="02010600030101010101" pitchFamily="2" charset="-122"/>
              </a:rPr>
              <a:t>POST</a:t>
            </a:r>
            <a:r>
              <a:rPr lang="en-US" altLang="zh-CN" sz="3200" kern="0" dirty="0">
                <a:effectLst/>
                <a:ea typeface="宋体" panose="02010600030101010101" pitchFamily="2" charset="-122"/>
                <a:cs typeface="宋体" panose="02010600030101010101" pitchFamily="2" charset="-122"/>
              </a:rPr>
              <a:t> /Account/Upload1</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941685" y="665825"/>
            <a:ext cx="7830106" cy="4247317"/>
          </a:xfrm>
          <a:prstGeom prst="rect">
            <a:avLst/>
          </a:prstGeom>
          <a:noFill/>
        </p:spPr>
        <p:txBody>
          <a:bodyPr wrap="square">
            <a:spAutoFit/>
          </a:bodyPr>
          <a:lstStyle/>
          <a:p>
            <a:r>
              <a:rPr lang="zh-CN" altLang="zh-CN" sz="1800" dirty="0">
                <a:effectLst/>
                <a:latin typeface="宋体" panose="02010600030101010101" pitchFamily="2" charset="-122"/>
                <a:ea typeface="宋体" panose="02010600030101010101" pitchFamily="2" charset="-122"/>
                <a:cs typeface="宋体" panose="02010600030101010101" pitchFamily="2" charset="-122"/>
              </a:rPr>
              <a:t>前端需要传递的参数：</a:t>
            </a: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id:user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文件</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这几项以</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form</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表单的形式提交</a:t>
            </a: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后端返回形式</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indent="266700"/>
            <a:r>
              <a:rPr lang="en-US" altLang="zh-CN" sz="1800" dirty="0">
                <a:effectLst/>
                <a:latin typeface="宋体" panose="02010600030101010101" pitchFamily="2" charset="-122"/>
                <a:ea typeface="宋体" panose="02010600030101010101" pitchFamily="2" charset="-122"/>
                <a:cs typeface="宋体" panose="02010600030101010101" pitchFamily="2" charset="-122"/>
              </a:rPr>
              <a:t>Success:</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是否成功</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Tags(tag</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数组一共十个</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tureHeight</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高</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indent="266700"/>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tureWidth</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宽</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indent="266700"/>
            <a:r>
              <a:rPr lang="en-US" altLang="zh-CN" sz="1800" b="1" dirty="0">
                <a:effectLst/>
                <a:latin typeface="宋体" panose="02010600030101010101" pitchFamily="2" charset="-122"/>
                <a:ea typeface="宋体" panose="02010600030101010101" pitchFamily="2" charset="-122"/>
                <a:cs typeface="宋体" panose="02010600030101010101" pitchFamily="2" charset="-122"/>
              </a:rPr>
              <a:t>Message</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文件个数和文件大小</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indent="266700"/>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tureURL</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在服务器上的地址</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ictureId</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这个图片的</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1512301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前端功能</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883904" y="2437747"/>
            <a:ext cx="1023516" cy="889909"/>
          </a:xfrm>
          <a:prstGeom prst="rect">
            <a:avLst/>
          </a:prstGeom>
          <a:noFill/>
          <a:ln w="117475">
            <a:noFill/>
          </a:ln>
        </p:spPr>
        <p:txBody>
          <a:bodyPr wrap="none" rtlCol="0">
            <a:prstTxWarp prst="textPlain">
              <a:avLst/>
            </a:prstTxWarp>
            <a:spAutoFit/>
          </a:bodyPr>
          <a:lstStyle/>
          <a:p>
            <a:r>
              <a:rPr lang="en-US" altLang="zh-CN"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rPr>
              <a:t>/</a:t>
            </a:r>
            <a:r>
              <a:rPr lang="en-US" altLang="zh-CN" sz="100"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rPr>
              <a:t> </a:t>
            </a:r>
            <a:r>
              <a:rPr lang="en-US" altLang="zh-CN"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rPr>
              <a:t>02</a:t>
            </a:r>
            <a:endParaRPr lang="zh-CN" altLang="en-US" spc="100" dirty="0">
              <a:gradFill>
                <a:gsLst>
                  <a:gs pos="100000">
                    <a:srgbClr val="FF5B5B"/>
                  </a:gs>
                  <a:gs pos="14000">
                    <a:srgbClr val="D00000"/>
                  </a:gs>
                </a:gsLst>
                <a:lin ang="2700000" scaled="1"/>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87695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45988" y="833275"/>
            <a:ext cx="2849732" cy="3393108"/>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第二回合上传 </a:t>
            </a:r>
            <a:r>
              <a:rPr lang="en-US" altLang="zh-CN" sz="3200" kern="0" dirty="0">
                <a:effectLst/>
                <a:highlight>
                  <a:srgbClr val="00FFFF"/>
                </a:highlight>
                <a:ea typeface="宋体" panose="02010600030101010101" pitchFamily="2" charset="-122"/>
                <a:cs typeface="宋体" panose="02010600030101010101" pitchFamily="2" charset="-122"/>
              </a:rPr>
              <a:t>POST</a:t>
            </a:r>
            <a:r>
              <a:rPr lang="en-US" altLang="zh-CN" sz="3200" kern="0" dirty="0">
                <a:effectLst/>
                <a:ea typeface="宋体" panose="02010600030101010101" pitchFamily="2" charset="-122"/>
                <a:cs typeface="宋体" panose="02010600030101010101" pitchFamily="2" charset="-122"/>
              </a:rPr>
              <a:t> /Account/Upload2</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941685" y="665825"/>
            <a:ext cx="7830106" cy="3693319"/>
          </a:xfrm>
          <a:prstGeom prst="rect">
            <a:avLst/>
          </a:prstGeom>
          <a:noFill/>
        </p:spPr>
        <p:txBody>
          <a:bodyPr wrap="square">
            <a:spAutoFit/>
          </a:bodyPr>
          <a:lstStyle/>
          <a:p>
            <a:r>
              <a:rPr lang="zh-CN" altLang="zh-CN" sz="1800" dirty="0">
                <a:effectLst/>
                <a:latin typeface="宋体" panose="02010600030101010101" pitchFamily="2" charset="-122"/>
                <a:ea typeface="宋体" panose="02010600030101010101" pitchFamily="2" charset="-122"/>
                <a:cs typeface="宋体" panose="02010600030101010101" pitchFamily="2" charset="-122"/>
              </a:rPr>
              <a:t>前端需要传递的数据</a:t>
            </a: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id:user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id:picture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简介</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err="1">
                <a:effectLst/>
                <a:latin typeface="宋体" panose="02010600030101010101" pitchFamily="2" charset="-122"/>
                <a:ea typeface="宋体" panose="02010600030101010101" pitchFamily="2" charset="-122"/>
                <a:cs typeface="宋体" panose="02010600030101010101" pitchFamily="2" charset="-122"/>
              </a:rPr>
              <a:t>p_info</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图片定价</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pric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Tag</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数组</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三个</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ag</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ag1</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tag2):</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dirty="0">
                <a:effectLst/>
                <a:latin typeface="宋体" panose="02010600030101010101" pitchFamily="2" charset="-122"/>
                <a:ea typeface="宋体" panose="02010600030101010101" pitchFamily="2" charset="-122"/>
                <a:cs typeface="宋体" panose="02010600030101010101" pitchFamily="2" charset="-122"/>
              </a:rPr>
              <a:t>同样还是以</a:t>
            </a:r>
            <a:r>
              <a:rPr lang="en-US" altLang="zh-CN" sz="1800" dirty="0">
                <a:effectLst/>
                <a:latin typeface="宋体" panose="02010600030101010101" pitchFamily="2" charset="-122"/>
                <a:ea typeface="宋体" panose="02010600030101010101" pitchFamily="2" charset="-122"/>
                <a:cs typeface="宋体" panose="02010600030101010101" pitchFamily="2" charset="-122"/>
              </a:rPr>
              <a:t>form</a:t>
            </a:r>
            <a:r>
              <a:rPr lang="zh-CN" altLang="zh-CN" sz="1800" dirty="0">
                <a:effectLst/>
                <a:latin typeface="宋体" panose="02010600030101010101" pitchFamily="2" charset="-122"/>
                <a:ea typeface="宋体" panose="02010600030101010101" pitchFamily="2" charset="-122"/>
                <a:cs typeface="宋体" panose="02010600030101010101" pitchFamily="2" charset="-122"/>
              </a:rPr>
              <a:t>表单形式提交。</a:t>
            </a:r>
          </a:p>
          <a:p>
            <a:r>
              <a:rPr lang="en-US" altLang="zh-CN" sz="1800"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值：</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Success:</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是否成功</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ownTag</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用户选择的三个</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ta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定价：</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pric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简介：</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_info</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custDataLst>
      <p:tags r:id="rId1"/>
    </p:custDataLst>
    <p:extLst>
      <p:ext uri="{BB962C8B-B14F-4D97-AF65-F5344CB8AC3E}">
        <p14:creationId xmlns:p14="http://schemas.microsoft.com/office/powerpoint/2010/main" val="41636263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示 2">
            <a:extLst>
              <a:ext uri="{FF2B5EF4-FFF2-40B4-BE49-F238E27FC236}">
                <a16:creationId xmlns:a16="http://schemas.microsoft.com/office/drawing/2014/main" id="{673F2A5A-57F8-480A-A2C4-57963CEC507B}"/>
              </a:ext>
            </a:extLst>
          </p:cNvPr>
          <p:cNvGraphicFramePr/>
          <p:nvPr/>
        </p:nvGraphicFramePr>
        <p:xfrm>
          <a:off x="-125274" y="0"/>
          <a:ext cx="3596443" cy="3934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文本框 3">
            <a:extLst>
              <a:ext uri="{FF2B5EF4-FFF2-40B4-BE49-F238E27FC236}">
                <a16:creationId xmlns:a16="http://schemas.microsoft.com/office/drawing/2014/main" id="{466AD5FC-197F-493E-9B45-67BB2BE7306E}"/>
              </a:ext>
            </a:extLst>
          </p:cNvPr>
          <p:cNvSpPr txBox="1"/>
          <p:nvPr/>
        </p:nvSpPr>
        <p:spPr>
          <a:xfrm>
            <a:off x="145988" y="833275"/>
            <a:ext cx="2849732" cy="4578433"/>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获得相似图片列表 </a:t>
            </a:r>
            <a:endParaRPr lang="en-US" altLang="zh-CN" sz="3200" kern="0" dirty="0">
              <a:effectLst/>
              <a:ea typeface="宋体" panose="02010600030101010101" pitchFamily="2" charset="-122"/>
              <a:cs typeface="宋体" panose="02010600030101010101" pitchFamily="2" charset="-122"/>
            </a:endParaRPr>
          </a:p>
          <a:p>
            <a:pPr algn="just">
              <a:lnSpc>
                <a:spcPct val="173000"/>
              </a:lnSpc>
              <a:spcBef>
                <a:spcPts val="1300"/>
              </a:spcBef>
              <a:spcAft>
                <a:spcPts val="1300"/>
              </a:spcAft>
            </a:pPr>
            <a:r>
              <a:rPr lang="en-US" altLang="zh-CN" sz="3200" kern="0" dirty="0">
                <a:effectLst/>
                <a:highlight>
                  <a:srgbClr val="00FFFF"/>
                </a:highlight>
                <a:ea typeface="宋体" panose="02010600030101010101" pitchFamily="2" charset="-122"/>
                <a:cs typeface="宋体" panose="02010600030101010101" pitchFamily="2" charset="-122"/>
              </a:rPr>
              <a:t>POST</a:t>
            </a:r>
            <a:r>
              <a:rPr lang="en-US" altLang="zh-CN" sz="3200" kern="0" dirty="0">
                <a:effectLst/>
                <a:ea typeface="宋体" panose="02010600030101010101" pitchFamily="2" charset="-122"/>
                <a:cs typeface="宋体" panose="02010600030101010101" pitchFamily="2" charset="-122"/>
              </a:rPr>
              <a:t> /Account/</a:t>
            </a:r>
            <a:r>
              <a:rPr lang="en-US" altLang="zh-CN" sz="3200" kern="0" dirty="0" err="1">
                <a:effectLst/>
                <a:ea typeface="宋体" panose="02010600030101010101" pitchFamily="2" charset="-122"/>
                <a:cs typeface="宋体" panose="02010600030101010101" pitchFamily="2" charset="-122"/>
              </a:rPr>
              <a:t>SimilarPicture</a:t>
            </a:r>
            <a:endParaRPr lang="zh-CN" altLang="zh-CN" sz="32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742431" y="266329"/>
            <a:ext cx="8303581" cy="4524315"/>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说明：该接口可根据传入图片获得数据库内匹配度最高的三个标签的全部图片</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Body form</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表单</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文件</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Success: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成功状态</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tabLst>
                <a:tab pos="2148840" algn="l"/>
              </a:tabLst>
            </a:pP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list</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列表</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tabLst>
                <a:tab pos="2148840" algn="l"/>
              </a:tabLst>
            </a:pP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Id</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tabLst>
                <a:tab pos="2148840" algn="l"/>
              </a:tabLst>
            </a:pP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icUrl</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url</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tabLst>
                <a:tab pos="2148840" algn="l"/>
              </a:tabLst>
            </a:pP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ublisherId</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上传者</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tabLst>
                <a:tab pos="2148840" algn="l"/>
              </a:tabLst>
            </a:pP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publisherName</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上传者名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tabLst>
                <a:tab pos="2148840" algn="l"/>
              </a:tabLst>
            </a:pP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nfo</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图片信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tabLst>
                <a:tab pos="2148840" algn="l"/>
              </a:tabLst>
            </a:pP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likenum</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喜欢人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a:tabLst>
                <a:tab pos="2148840" algn="l"/>
              </a:tabLst>
            </a:pP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starnum</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标注人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kern="0" dirty="0" err="1">
                <a:effectLst/>
                <a:latin typeface="宋体" panose="02010600030101010101" pitchFamily="2" charset="-122"/>
                <a:cs typeface="宋体" panose="02010600030101010101" pitchFamily="2" charset="-122"/>
              </a:rPr>
              <a:t>commNum</a:t>
            </a:r>
            <a:r>
              <a:rPr lang="zh-CN" altLang="zh-CN" sz="1800" b="1" kern="0" dirty="0">
                <a:effectLst/>
                <a:ea typeface="宋体" panose="02010600030101010101" pitchFamily="2" charset="-122"/>
                <a:cs typeface="宋体" panose="02010600030101010101" pitchFamily="2" charset="-122"/>
              </a:rPr>
              <a:t>：评论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pic>
        <p:nvPicPr>
          <p:cNvPr id="6" name="图片 5">
            <a:extLst>
              <a:ext uri="{FF2B5EF4-FFF2-40B4-BE49-F238E27FC236}">
                <a16:creationId xmlns:a16="http://schemas.microsoft.com/office/drawing/2014/main" id="{05F6C595-64D7-475F-99A7-F1C6092EF0B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7205221" y="754932"/>
            <a:ext cx="4840791" cy="5255251"/>
          </a:xfrm>
          <a:prstGeom prst="rect">
            <a:avLst/>
          </a:prstGeom>
          <a:noFill/>
          <a:ln>
            <a:noFill/>
          </a:ln>
        </p:spPr>
      </p:pic>
    </p:spTree>
    <p:custDataLst>
      <p:tags r:id="rId1"/>
    </p:custDataLst>
    <p:extLst>
      <p:ext uri="{BB962C8B-B14F-4D97-AF65-F5344CB8AC3E}">
        <p14:creationId xmlns:p14="http://schemas.microsoft.com/office/powerpoint/2010/main" val="4180853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466AD5FC-197F-493E-9B45-67BB2BE7306E}"/>
              </a:ext>
            </a:extLst>
          </p:cNvPr>
          <p:cNvSpPr txBox="1"/>
          <p:nvPr/>
        </p:nvSpPr>
        <p:spPr>
          <a:xfrm>
            <a:off x="93709" y="1749877"/>
            <a:ext cx="2849732" cy="4578433"/>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获取十个（不满十个则返回小于十）</a:t>
            </a:r>
            <a:endParaRPr lang="en-US" altLang="zh-CN" sz="3200" kern="0" dirty="0">
              <a:effectLst/>
              <a:ea typeface="宋体" panose="02010600030101010101" pitchFamily="2" charset="-122"/>
              <a:cs typeface="宋体" panose="02010600030101010101" pitchFamily="2" charset="-122"/>
            </a:endParaRPr>
          </a:p>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 </a:t>
            </a:r>
            <a:r>
              <a:rPr lang="en-US" altLang="zh-CN" sz="3200" kern="0" dirty="0">
                <a:effectLst/>
                <a:highlight>
                  <a:srgbClr val="00FFFF"/>
                </a:highlight>
                <a:ea typeface="宋体" panose="02010600030101010101" pitchFamily="2" charset="-122"/>
                <a:cs typeface="宋体" panose="02010600030101010101" pitchFamily="2" charset="-122"/>
              </a:rPr>
              <a:t>GET</a:t>
            </a:r>
            <a:r>
              <a:rPr lang="en-US" altLang="zh-CN" sz="3200" kern="0" dirty="0">
                <a:effectLst/>
                <a:ea typeface="宋体" panose="02010600030101010101" pitchFamily="2" charset="-122"/>
                <a:cs typeface="宋体" panose="02010600030101010101" pitchFamily="2" charset="-122"/>
              </a:rPr>
              <a:t> /Blog/</a:t>
            </a:r>
            <a:r>
              <a:rPr lang="en-US" altLang="zh-CN" sz="3200" kern="0" dirty="0" err="1">
                <a:effectLst/>
                <a:ea typeface="宋体" panose="02010600030101010101" pitchFamily="2" charset="-122"/>
                <a:cs typeface="宋体" panose="02010600030101010101" pitchFamily="2" charset="-122"/>
              </a:rPr>
              <a:t>getTen</a:t>
            </a:r>
            <a:endParaRPr lang="zh-CN" altLang="zh-CN" sz="48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619130" y="98630"/>
            <a:ext cx="7830106" cy="4247317"/>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说明：该接口可根据参数获得对应参数的最新十个博客信息并返回，如</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times=0</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则是最新的第</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1-10</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条，如</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times=1</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则是最新的第</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11-20</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条</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依次类推，如果剩余没有十条，则返回小于十条博客信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 </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Params]</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请求的第几次 </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times : in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如果第一次请求，</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times=0)</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Success: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成功状态</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Times :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当前是第几次请求，</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r>
              <a:rPr lang="en-US" altLang="zh-CN" b="1" dirty="0">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下一次请求请</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1</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b_id</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博客</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b_date</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博客编写日期</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b_type</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博客类型 </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tt</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表示文本</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kern="0" dirty="0" err="1">
                <a:effectLst/>
                <a:latin typeface="宋体" panose="02010600030101010101" pitchFamily="2" charset="-122"/>
                <a:cs typeface="宋体" panose="02010600030101010101" pitchFamily="2" charset="-122"/>
              </a:rPr>
              <a:t>b_text</a:t>
            </a:r>
            <a:r>
              <a:rPr lang="en-US" altLang="zh-CN" sz="1800" b="1" kern="0" dirty="0">
                <a:effectLst/>
                <a:latin typeface="宋体" panose="02010600030101010101" pitchFamily="2" charset="-122"/>
                <a:cs typeface="宋体" panose="02010600030101010101" pitchFamily="2" charset="-122"/>
              </a:rPr>
              <a:t> : </a:t>
            </a:r>
            <a:r>
              <a:rPr lang="zh-CN" altLang="zh-CN" sz="1800" b="1" kern="0" dirty="0">
                <a:effectLst/>
                <a:ea typeface="宋体" panose="02010600030101010101" pitchFamily="2" charset="-122"/>
                <a:cs typeface="宋体" panose="02010600030101010101" pitchFamily="2" charset="-122"/>
              </a:rPr>
              <a:t>博客内容</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graphicFrame>
        <p:nvGraphicFramePr>
          <p:cNvPr id="2" name="图示 1">
            <a:extLst>
              <a:ext uri="{FF2B5EF4-FFF2-40B4-BE49-F238E27FC236}">
                <a16:creationId xmlns:a16="http://schemas.microsoft.com/office/drawing/2014/main" id="{68325A32-ADA0-4135-9FAE-4FB78F2D9CF9}"/>
              </a:ext>
            </a:extLst>
          </p:cNvPr>
          <p:cNvGraphicFramePr/>
          <p:nvPr>
            <p:extLst>
              <p:ext uri="{D42A27DB-BD31-4B8C-83A1-F6EECF244321}">
                <p14:modId xmlns:p14="http://schemas.microsoft.com/office/powerpoint/2010/main" val="486412539"/>
              </p:ext>
            </p:extLst>
          </p:nvPr>
        </p:nvGraphicFramePr>
        <p:xfrm>
          <a:off x="226874" y="98630"/>
          <a:ext cx="3259091" cy="25567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9">
            <a:extLst>
              <a:ext uri="{FF2B5EF4-FFF2-40B4-BE49-F238E27FC236}">
                <a16:creationId xmlns:a16="http://schemas.microsoft.com/office/drawing/2014/main" id="{A370C155-DA0C-468B-9AC5-7705A0A214AB}"/>
              </a:ext>
            </a:extLst>
          </p:cNvPr>
          <p:cNvPicPr/>
          <p:nvPr/>
        </p:nvPicPr>
        <p:blipFill>
          <a:blip r:embed="rId8"/>
          <a:stretch>
            <a:fillRect/>
          </a:stretch>
        </p:blipFill>
        <p:spPr>
          <a:xfrm>
            <a:off x="7394127" y="1869211"/>
            <a:ext cx="3990975" cy="4695825"/>
          </a:xfrm>
          <a:prstGeom prst="rect">
            <a:avLst/>
          </a:prstGeom>
        </p:spPr>
      </p:pic>
    </p:spTree>
    <p:custDataLst>
      <p:tags r:id="rId1"/>
    </p:custDataLst>
    <p:extLst>
      <p:ext uri="{BB962C8B-B14F-4D97-AF65-F5344CB8AC3E}">
        <p14:creationId xmlns:p14="http://schemas.microsoft.com/office/powerpoint/2010/main" val="7741310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466AD5FC-197F-493E-9B45-67BB2BE7306E}"/>
              </a:ext>
            </a:extLst>
          </p:cNvPr>
          <p:cNvSpPr txBox="1"/>
          <p:nvPr/>
        </p:nvSpPr>
        <p:spPr>
          <a:xfrm>
            <a:off x="93709" y="1749877"/>
            <a:ext cx="2849732" cy="3393108"/>
          </a:xfrm>
          <a:prstGeom prst="rect">
            <a:avLst/>
          </a:prstGeom>
          <a:noFill/>
        </p:spPr>
        <p:txBody>
          <a:bodyPr wrap="square" rtlCol="0">
            <a:spAutoFit/>
          </a:bodyPr>
          <a:lstStyle/>
          <a:p>
            <a:pPr algn="just">
              <a:lnSpc>
                <a:spcPct val="173000"/>
              </a:lnSpc>
              <a:spcBef>
                <a:spcPts val="1300"/>
              </a:spcBef>
              <a:spcAft>
                <a:spcPts val="1300"/>
              </a:spcAft>
            </a:pPr>
            <a:r>
              <a:rPr lang="zh-CN" altLang="zh-CN" sz="3200" kern="0" dirty="0">
                <a:effectLst/>
                <a:ea typeface="宋体" panose="02010600030101010101" pitchFamily="2" charset="-122"/>
                <a:cs typeface="宋体" panose="02010600030101010101" pitchFamily="2" charset="-122"/>
              </a:rPr>
              <a:t>编写博客 </a:t>
            </a:r>
            <a:r>
              <a:rPr lang="en-US" altLang="zh-CN" sz="3200" kern="0" dirty="0">
                <a:effectLst/>
                <a:highlight>
                  <a:srgbClr val="00FF00"/>
                </a:highlight>
                <a:ea typeface="宋体" panose="02010600030101010101" pitchFamily="2" charset="-122"/>
                <a:cs typeface="宋体" panose="02010600030101010101" pitchFamily="2" charset="-122"/>
              </a:rPr>
              <a:t>POST</a:t>
            </a:r>
            <a:r>
              <a:rPr lang="en-US" altLang="zh-CN" sz="3200" kern="0" dirty="0">
                <a:effectLst/>
                <a:ea typeface="宋体" panose="02010600030101010101" pitchFamily="2" charset="-122"/>
                <a:cs typeface="宋体" panose="02010600030101010101" pitchFamily="2" charset="-122"/>
              </a:rPr>
              <a:t> /Blog/</a:t>
            </a:r>
            <a:r>
              <a:rPr lang="en-US" altLang="zh-CN" sz="3200" kern="0" dirty="0" err="1">
                <a:effectLst/>
                <a:ea typeface="宋体" panose="02010600030101010101" pitchFamily="2" charset="-122"/>
                <a:cs typeface="宋体" panose="02010600030101010101" pitchFamily="2" charset="-122"/>
              </a:rPr>
              <a:t>writeBlog</a:t>
            </a:r>
            <a:endParaRPr lang="zh-CN" altLang="zh-CN" sz="48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619130" y="98630"/>
            <a:ext cx="7830106" cy="3693319"/>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说明：通过该接口可实现用户写博客操作</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Body]{</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博客内容 </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conten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a:t>
            </a:r>
          </a:p>
          <a:p>
            <a:endParaRPr lang="en-US" altLang="zh-CN" b="1" dirty="0">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Success: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成功状态</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Msg :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消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graphicFrame>
        <p:nvGraphicFramePr>
          <p:cNvPr id="2" name="图示 1">
            <a:extLst>
              <a:ext uri="{FF2B5EF4-FFF2-40B4-BE49-F238E27FC236}">
                <a16:creationId xmlns:a16="http://schemas.microsoft.com/office/drawing/2014/main" id="{68325A32-ADA0-4135-9FAE-4FB78F2D9CF9}"/>
              </a:ext>
            </a:extLst>
          </p:cNvPr>
          <p:cNvGraphicFramePr/>
          <p:nvPr/>
        </p:nvGraphicFramePr>
        <p:xfrm>
          <a:off x="226874" y="98630"/>
          <a:ext cx="3259091" cy="25567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10">
            <a:extLst>
              <a:ext uri="{FF2B5EF4-FFF2-40B4-BE49-F238E27FC236}">
                <a16:creationId xmlns:a16="http://schemas.microsoft.com/office/drawing/2014/main" id="{CFEB5C80-22C1-4762-84D5-B3FBAA5F37F1}"/>
              </a:ext>
            </a:extLst>
          </p:cNvPr>
          <p:cNvPicPr/>
          <p:nvPr/>
        </p:nvPicPr>
        <p:blipFill>
          <a:blip r:embed="rId8"/>
          <a:stretch>
            <a:fillRect/>
          </a:stretch>
        </p:blipFill>
        <p:spPr>
          <a:xfrm>
            <a:off x="6938993" y="2475762"/>
            <a:ext cx="3286125" cy="1076325"/>
          </a:xfrm>
          <a:prstGeom prst="rect">
            <a:avLst/>
          </a:prstGeom>
        </p:spPr>
      </p:pic>
    </p:spTree>
    <p:custDataLst>
      <p:tags r:id="rId1"/>
    </p:custDataLst>
    <p:extLst>
      <p:ext uri="{BB962C8B-B14F-4D97-AF65-F5344CB8AC3E}">
        <p14:creationId xmlns:p14="http://schemas.microsoft.com/office/powerpoint/2010/main" val="11439466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466AD5FC-197F-493E-9B45-67BB2BE7306E}"/>
              </a:ext>
            </a:extLst>
          </p:cNvPr>
          <p:cNvSpPr txBox="1"/>
          <p:nvPr/>
        </p:nvSpPr>
        <p:spPr>
          <a:xfrm>
            <a:off x="73973" y="244487"/>
            <a:ext cx="3315317" cy="2262479"/>
          </a:xfrm>
          <a:prstGeom prst="rect">
            <a:avLst/>
          </a:prstGeom>
          <a:noFill/>
        </p:spPr>
        <p:txBody>
          <a:bodyPr wrap="square" rtlCol="0">
            <a:spAutoFit/>
          </a:bodyPr>
          <a:lstStyle/>
          <a:p>
            <a:pPr algn="just">
              <a:lnSpc>
                <a:spcPct val="173000"/>
              </a:lnSpc>
              <a:spcBef>
                <a:spcPts val="1300"/>
              </a:spcBef>
              <a:spcAft>
                <a:spcPts val="1300"/>
              </a:spcAft>
            </a:pPr>
            <a:r>
              <a:rPr lang="zh-CN" altLang="zh-CN" sz="2400" kern="0" dirty="0">
                <a:effectLst/>
                <a:ea typeface="宋体" panose="02010600030101010101" pitchFamily="2" charset="-122"/>
                <a:cs typeface="宋体" panose="02010600030101010101" pitchFamily="2" charset="-122"/>
              </a:rPr>
              <a:t>获取钱包信息 </a:t>
            </a:r>
            <a:endParaRPr lang="en-US" altLang="zh-CN" sz="2400" kern="0" dirty="0">
              <a:effectLst/>
              <a:ea typeface="宋体" panose="02010600030101010101" pitchFamily="2" charset="-122"/>
              <a:cs typeface="宋体" panose="02010600030101010101" pitchFamily="2" charset="-122"/>
            </a:endParaRPr>
          </a:p>
          <a:p>
            <a:pPr algn="just">
              <a:lnSpc>
                <a:spcPct val="173000"/>
              </a:lnSpc>
              <a:spcBef>
                <a:spcPts val="1300"/>
              </a:spcBef>
              <a:spcAft>
                <a:spcPts val="1300"/>
              </a:spcAft>
            </a:pPr>
            <a:r>
              <a:rPr lang="en-US" altLang="zh-CN" sz="2400" kern="0" dirty="0">
                <a:effectLst/>
                <a:highlight>
                  <a:srgbClr val="00FFFF"/>
                </a:highlight>
                <a:ea typeface="宋体" panose="02010600030101010101" pitchFamily="2" charset="-122"/>
                <a:cs typeface="宋体" panose="02010600030101010101" pitchFamily="2" charset="-122"/>
              </a:rPr>
              <a:t>GET</a:t>
            </a:r>
            <a:r>
              <a:rPr lang="en-US" altLang="zh-CN" sz="2400" kern="0" dirty="0">
                <a:effectLst/>
                <a:ea typeface="宋体" panose="02010600030101010101" pitchFamily="2" charset="-122"/>
                <a:cs typeface="宋体" panose="02010600030101010101" pitchFamily="2" charset="-122"/>
              </a:rPr>
              <a:t> /Wallet/</a:t>
            </a:r>
            <a:r>
              <a:rPr lang="en-US" altLang="zh-CN" sz="2400" kern="0" dirty="0" err="1">
                <a:effectLst/>
                <a:ea typeface="宋体" panose="02010600030101010101" pitchFamily="2" charset="-122"/>
                <a:cs typeface="宋体" panose="02010600030101010101" pitchFamily="2" charset="-122"/>
              </a:rPr>
              <a:t>getWalletInfo</a:t>
            </a:r>
            <a:endParaRPr lang="zh-CN" altLang="zh-CN" sz="40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707906" y="937305"/>
            <a:ext cx="7830106" cy="3139321"/>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说明：通过参数</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可以获取响应用户的钱包帐户信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Params]</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en-US" altLang="zh-CN" sz="1800" b="1"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Success: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成功状态</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username :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用户名</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nowCoin</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用户硬币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buyNum</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用户购买图片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graphicFrame>
        <p:nvGraphicFramePr>
          <p:cNvPr id="3" name="图示 2">
            <a:extLst>
              <a:ext uri="{FF2B5EF4-FFF2-40B4-BE49-F238E27FC236}">
                <a16:creationId xmlns:a16="http://schemas.microsoft.com/office/drawing/2014/main" id="{C5F339FF-08E4-49F7-83DC-C3E7C787AF63}"/>
              </a:ext>
            </a:extLst>
          </p:cNvPr>
          <p:cNvGraphicFramePr/>
          <p:nvPr>
            <p:extLst>
              <p:ext uri="{D42A27DB-BD31-4B8C-83A1-F6EECF244321}">
                <p14:modId xmlns:p14="http://schemas.microsoft.com/office/powerpoint/2010/main" val="2100465425"/>
              </p:ext>
            </p:extLst>
          </p:nvPr>
        </p:nvGraphicFramePr>
        <p:xfrm>
          <a:off x="167689" y="0"/>
          <a:ext cx="2765874" cy="28846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12">
            <a:extLst>
              <a:ext uri="{FF2B5EF4-FFF2-40B4-BE49-F238E27FC236}">
                <a16:creationId xmlns:a16="http://schemas.microsoft.com/office/drawing/2014/main" id="{0B12785E-9416-41FA-98E3-956EEC08F032}"/>
              </a:ext>
            </a:extLst>
          </p:cNvPr>
          <p:cNvPicPr/>
          <p:nvPr/>
        </p:nvPicPr>
        <p:blipFill>
          <a:blip r:embed="rId8"/>
          <a:stretch>
            <a:fillRect/>
          </a:stretch>
        </p:blipFill>
        <p:spPr>
          <a:xfrm>
            <a:off x="7187954" y="2265543"/>
            <a:ext cx="2314575" cy="1238250"/>
          </a:xfrm>
          <a:prstGeom prst="rect">
            <a:avLst/>
          </a:prstGeom>
        </p:spPr>
      </p:pic>
    </p:spTree>
    <p:custDataLst>
      <p:tags r:id="rId1"/>
    </p:custDataLst>
    <p:extLst>
      <p:ext uri="{BB962C8B-B14F-4D97-AF65-F5344CB8AC3E}">
        <p14:creationId xmlns:p14="http://schemas.microsoft.com/office/powerpoint/2010/main" val="7643892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466AD5FC-197F-493E-9B45-67BB2BE7306E}"/>
              </a:ext>
            </a:extLst>
          </p:cNvPr>
          <p:cNvSpPr txBox="1"/>
          <p:nvPr/>
        </p:nvSpPr>
        <p:spPr>
          <a:xfrm>
            <a:off x="73973" y="244487"/>
            <a:ext cx="3315317" cy="2980688"/>
          </a:xfrm>
          <a:prstGeom prst="rect">
            <a:avLst/>
          </a:prstGeom>
          <a:noFill/>
        </p:spPr>
        <p:txBody>
          <a:bodyPr wrap="square" rtlCol="0">
            <a:spAutoFit/>
          </a:bodyPr>
          <a:lstStyle/>
          <a:p>
            <a:pPr algn="just">
              <a:lnSpc>
                <a:spcPct val="173000"/>
              </a:lnSpc>
              <a:spcBef>
                <a:spcPts val="1300"/>
              </a:spcBef>
              <a:spcAft>
                <a:spcPts val="1300"/>
              </a:spcAft>
            </a:pPr>
            <a:r>
              <a:rPr lang="zh-CN" altLang="zh-CN" sz="2800" kern="0" dirty="0">
                <a:effectLst/>
                <a:ea typeface="宋体" panose="02010600030101010101" pitchFamily="2" charset="-122"/>
                <a:cs typeface="宋体" panose="02010600030101010101" pitchFamily="2" charset="-122"/>
              </a:rPr>
              <a:t>向钱包进行充值 </a:t>
            </a:r>
            <a:r>
              <a:rPr lang="en-US" altLang="zh-CN" sz="2800" kern="0" dirty="0">
                <a:effectLst/>
                <a:highlight>
                  <a:srgbClr val="00FF00"/>
                </a:highlight>
                <a:ea typeface="宋体" panose="02010600030101010101" pitchFamily="2" charset="-122"/>
                <a:cs typeface="宋体" panose="02010600030101010101" pitchFamily="2" charset="-122"/>
              </a:rPr>
              <a:t>POST</a:t>
            </a:r>
            <a:r>
              <a:rPr lang="en-US" altLang="zh-CN" sz="2800" kern="0" dirty="0">
                <a:effectLst/>
                <a:ea typeface="宋体" panose="02010600030101010101" pitchFamily="2" charset="-122"/>
                <a:cs typeface="宋体" panose="02010600030101010101" pitchFamily="2" charset="-122"/>
              </a:rPr>
              <a:t> /Wallet/</a:t>
            </a:r>
            <a:r>
              <a:rPr lang="en-US" altLang="zh-CN" sz="2800" kern="0" dirty="0" err="1">
                <a:effectLst/>
                <a:ea typeface="宋体" panose="02010600030101010101" pitchFamily="2" charset="-122"/>
                <a:cs typeface="宋体" panose="02010600030101010101" pitchFamily="2" charset="-122"/>
              </a:rPr>
              <a:t>depositWallet</a:t>
            </a:r>
            <a:endParaRPr lang="zh-CN" altLang="zh-CN" sz="5400" b="1" kern="100" dirty="0">
              <a:effectLst/>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5" name="文本框 4">
            <a:extLst>
              <a:ext uri="{FF2B5EF4-FFF2-40B4-BE49-F238E27FC236}">
                <a16:creationId xmlns:a16="http://schemas.microsoft.com/office/drawing/2014/main" id="{23B2A161-84AC-4AEE-9F84-A26DA57EEA8A}"/>
              </a:ext>
            </a:extLst>
          </p:cNvPr>
          <p:cNvSpPr txBox="1"/>
          <p:nvPr/>
        </p:nvSpPr>
        <p:spPr>
          <a:xfrm>
            <a:off x="3707906" y="937305"/>
            <a:ext cx="7830106" cy="2862322"/>
          </a:xfrm>
          <a:prstGeom prst="rect">
            <a:avLst/>
          </a:prstGeom>
          <a:noFill/>
        </p:spPr>
        <p:txBody>
          <a:bodyPr wrap="square">
            <a:spAutoFit/>
          </a:bodyPr>
          <a:lstStyle/>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说明：通过参数向对应用户钱包充值相应硬币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参数：</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Params]</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用户</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ID </a:t>
            </a:r>
            <a:r>
              <a:rPr lang="en-US" altLang="zh-CN" sz="1800" b="1" dirty="0" err="1">
                <a:effectLst/>
                <a:latin typeface="宋体" panose="02010600030101010101" pitchFamily="2" charset="-122"/>
                <a:ea typeface="宋体" panose="02010600030101010101" pitchFamily="2" charset="-122"/>
                <a:cs typeface="宋体" panose="02010600030101010101" pitchFamily="2" charset="-122"/>
              </a:rPr>
              <a:t>userId</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 string</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金额 </a:t>
            </a:r>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mount : in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 </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数据：</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Success: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操作成功状态</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Msg : </a:t>
            </a:r>
            <a:r>
              <a:rPr lang="zh-CN" altLang="zh-CN" sz="1800" b="1" dirty="0">
                <a:effectLst/>
                <a:latin typeface="宋体" panose="02010600030101010101" pitchFamily="2" charset="-122"/>
                <a:ea typeface="宋体" panose="02010600030101010101" pitchFamily="2" charset="-122"/>
                <a:cs typeface="宋体" panose="02010600030101010101" pitchFamily="2" charset="-122"/>
              </a:rPr>
              <a:t>返回消息</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graphicFrame>
        <p:nvGraphicFramePr>
          <p:cNvPr id="3" name="图示 2">
            <a:extLst>
              <a:ext uri="{FF2B5EF4-FFF2-40B4-BE49-F238E27FC236}">
                <a16:creationId xmlns:a16="http://schemas.microsoft.com/office/drawing/2014/main" id="{C5F339FF-08E4-49F7-83DC-C3E7C787AF63}"/>
              </a:ext>
            </a:extLst>
          </p:cNvPr>
          <p:cNvGraphicFramePr/>
          <p:nvPr>
            <p:extLst>
              <p:ext uri="{D42A27DB-BD31-4B8C-83A1-F6EECF244321}">
                <p14:modId xmlns:p14="http://schemas.microsoft.com/office/powerpoint/2010/main" val="3938500757"/>
              </p:ext>
            </p:extLst>
          </p:nvPr>
        </p:nvGraphicFramePr>
        <p:xfrm>
          <a:off x="258221" y="292497"/>
          <a:ext cx="2765874" cy="28846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13">
            <a:extLst>
              <a:ext uri="{FF2B5EF4-FFF2-40B4-BE49-F238E27FC236}">
                <a16:creationId xmlns:a16="http://schemas.microsoft.com/office/drawing/2014/main" id="{B567BF6E-C614-49F8-BF24-8E8360FF0164}"/>
              </a:ext>
            </a:extLst>
          </p:cNvPr>
          <p:cNvPicPr/>
          <p:nvPr/>
        </p:nvPicPr>
        <p:blipFill>
          <a:blip r:embed="rId8"/>
          <a:stretch>
            <a:fillRect/>
          </a:stretch>
        </p:blipFill>
        <p:spPr>
          <a:xfrm>
            <a:off x="6539005" y="2543082"/>
            <a:ext cx="3552825" cy="990600"/>
          </a:xfrm>
          <a:prstGeom prst="rect">
            <a:avLst/>
          </a:prstGeom>
        </p:spPr>
      </p:pic>
    </p:spTree>
    <p:custDataLst>
      <p:tags r:id="rId1"/>
    </p:custDataLst>
    <p:extLst>
      <p:ext uri="{BB962C8B-B14F-4D97-AF65-F5344CB8AC3E}">
        <p14:creationId xmlns:p14="http://schemas.microsoft.com/office/powerpoint/2010/main" val="1391410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lang="en-US" altLang="zh-CN" dirty="0" smtClean="0"/>
              <a:t>AI</a:t>
            </a:r>
            <a:r>
              <a:rPr lang="zh-CN" altLang="en-US" dirty="0" smtClean="0"/>
              <a:t>功能</a:t>
            </a:r>
            <a:r>
              <a:rPr lang="zh-CN" altLang="en-US" dirty="0" smtClean="0"/>
              <a:t>与设计</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6</a:t>
            </a:fld>
            <a:endParaRPr lang="zh-CN" altLang="en-US"/>
          </a:p>
        </p:txBody>
      </p:sp>
      <p:grpSp>
        <p:nvGrpSpPr>
          <p:cNvPr id="5" name="#46312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1435177" y="1698842"/>
            <a:ext cx="9320056" cy="3871479"/>
            <a:chOff x="1435972" y="1427890"/>
            <a:chExt cx="9320056" cy="3871479"/>
          </a:xfrm>
        </p:grpSpPr>
        <p:sp>
          <p:nvSpPr>
            <p:cNvPr id="6" name="ïṩľîdè">
              <a:extLst>
                <a:ext uri="{FF2B5EF4-FFF2-40B4-BE49-F238E27FC236}">
                  <a16:creationId xmlns:a16="http://schemas.microsoft.com/office/drawing/2014/main" id="{F8E5189A-82D3-4CDC-9067-E88D5293C8FF}"/>
                </a:ext>
              </a:extLst>
            </p:cNvPr>
            <p:cNvSpPr/>
            <p:nvPr/>
          </p:nvSpPr>
          <p:spPr>
            <a:xfrm>
              <a:off x="4972050" y="2723289"/>
              <a:ext cx="2144556" cy="850901"/>
            </a:xfrm>
            <a:prstGeom prst="rect">
              <a:avLst/>
            </a:prstGeom>
            <a:solidFill>
              <a:schemeClr val="accent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r>
                <a:rPr lang="en-US" altLang="zh-CN" b="1" dirty="0" smtClean="0">
                  <a:solidFill>
                    <a:schemeClr val="bg1"/>
                  </a:solidFill>
                </a:rPr>
                <a:t>MobileNet_verN</a:t>
              </a:r>
              <a:endParaRPr lang="en-US" altLang="zh-CN" b="1" dirty="0">
                <a:solidFill>
                  <a:schemeClr val="bg1"/>
                </a:solidFill>
              </a:endParaRPr>
            </a:p>
          </p:txBody>
        </p:sp>
        <p:sp>
          <p:nvSpPr>
            <p:cNvPr id="7" name="îSľíḍe">
              <a:extLst>
                <a:ext uri="{FF2B5EF4-FFF2-40B4-BE49-F238E27FC236}">
                  <a16:creationId xmlns:a16="http://schemas.microsoft.com/office/drawing/2014/main" id="{A62FD742-5BAC-421B-ACB4-E29E25DAEDA3}"/>
                </a:ext>
              </a:extLst>
            </p:cNvPr>
            <p:cNvSpPr/>
            <p:nvPr/>
          </p:nvSpPr>
          <p:spPr>
            <a:xfrm>
              <a:off x="7639050" y="1427890"/>
              <a:ext cx="1796178" cy="438150"/>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r>
                <a:rPr lang="zh-CN" altLang="en-US" sz="1600" b="1" dirty="0" smtClean="0">
                  <a:solidFill>
                    <a:schemeClr val="tx1">
                      <a:lumMod val="85000"/>
                      <a:lumOff val="15000"/>
                    </a:schemeClr>
                  </a:solidFill>
                </a:rPr>
                <a:t>图片库扩增</a:t>
              </a:r>
              <a:endParaRPr lang="en-US" altLang="zh-CN" sz="1600" b="1" dirty="0">
                <a:solidFill>
                  <a:schemeClr val="tx1">
                    <a:lumMod val="85000"/>
                    <a:lumOff val="15000"/>
                  </a:schemeClr>
                </a:solidFill>
              </a:endParaRPr>
            </a:p>
          </p:txBody>
        </p:sp>
        <p:sp>
          <p:nvSpPr>
            <p:cNvPr id="8" name="îšḻiďé">
              <a:extLst>
                <a:ext uri="{FF2B5EF4-FFF2-40B4-BE49-F238E27FC236}">
                  <a16:creationId xmlns:a16="http://schemas.microsoft.com/office/drawing/2014/main" id="{10B14C58-72A1-41A2-981B-98220637DAE5}"/>
                </a:ext>
              </a:extLst>
            </p:cNvPr>
            <p:cNvSpPr/>
            <p:nvPr/>
          </p:nvSpPr>
          <p:spPr>
            <a:xfrm>
              <a:off x="7639050" y="3993289"/>
              <a:ext cx="1796178" cy="438150"/>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r>
                <a:rPr lang="zh-CN" altLang="en-US" sz="1600" b="1" dirty="0" smtClean="0">
                  <a:solidFill>
                    <a:schemeClr val="tx1">
                      <a:lumMod val="85000"/>
                      <a:lumOff val="15000"/>
                    </a:schemeClr>
                  </a:solidFill>
                </a:rPr>
                <a:t>迭代训练模型</a:t>
              </a:r>
              <a:endParaRPr lang="en-US" altLang="zh-CN" sz="1600" b="1" dirty="0">
                <a:solidFill>
                  <a:schemeClr val="tx1">
                    <a:lumMod val="85000"/>
                    <a:lumOff val="15000"/>
                  </a:schemeClr>
                </a:solidFill>
              </a:endParaRPr>
            </a:p>
          </p:txBody>
        </p:sp>
        <p:sp>
          <p:nvSpPr>
            <p:cNvPr id="9" name="ïṣľïḓe">
              <a:extLst>
                <a:ext uri="{FF2B5EF4-FFF2-40B4-BE49-F238E27FC236}">
                  <a16:creationId xmlns:a16="http://schemas.microsoft.com/office/drawing/2014/main" id="{D4F7FA2B-695E-4E9B-8D06-2812FCDDEFD1}"/>
                </a:ext>
              </a:extLst>
            </p:cNvPr>
            <p:cNvSpPr txBox="1"/>
            <p:nvPr/>
          </p:nvSpPr>
          <p:spPr>
            <a:xfrm>
              <a:off x="7639050" y="1866556"/>
              <a:ext cx="3116978" cy="112646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1400" dirty="0" smtClean="0">
                  <a:solidFill>
                    <a:schemeClr val="tx1">
                      <a:lumMod val="85000"/>
                      <a:lumOff val="15000"/>
                      <a:alpha val="80000"/>
                    </a:schemeClr>
                  </a:solidFill>
                </a:rPr>
                <a:t>用户上传的图片会被分类到图片库的对应标签下</a:t>
              </a:r>
              <a:endParaRPr lang="en-US" altLang="zh-CN" sz="1400" dirty="0" smtClean="0">
                <a:solidFill>
                  <a:schemeClr val="tx1">
                    <a:lumMod val="85000"/>
                    <a:lumOff val="15000"/>
                    <a:alpha val="80000"/>
                  </a:schemeClr>
                </a:solidFill>
              </a:endParaRPr>
            </a:p>
            <a:p>
              <a:pPr>
                <a:lnSpc>
                  <a:spcPct val="120000"/>
                </a:lnSpc>
              </a:pPr>
              <a:r>
                <a:rPr lang="zh-CN" altLang="en-US" sz="1400" dirty="0" smtClean="0">
                  <a:solidFill>
                    <a:schemeClr val="tx1">
                      <a:lumMod val="85000"/>
                      <a:lumOff val="15000"/>
                      <a:alpha val="80000"/>
                    </a:schemeClr>
                  </a:solidFill>
                </a:rPr>
                <a:t>图片库的标签总量也可能因用户请求而增加</a:t>
              </a:r>
              <a:endParaRPr lang="en-US" altLang="zh-CN" sz="1400" dirty="0">
                <a:solidFill>
                  <a:schemeClr val="tx1">
                    <a:lumMod val="85000"/>
                    <a:lumOff val="15000"/>
                    <a:alpha val="80000"/>
                  </a:schemeClr>
                </a:solidFill>
              </a:endParaRPr>
            </a:p>
          </p:txBody>
        </p:sp>
        <p:sp>
          <p:nvSpPr>
            <p:cNvPr id="10" name="îšlîďé">
              <a:extLst>
                <a:ext uri="{FF2B5EF4-FFF2-40B4-BE49-F238E27FC236}">
                  <a16:creationId xmlns:a16="http://schemas.microsoft.com/office/drawing/2014/main" id="{988FDC86-056A-450B-A5D5-49B409C31CFF}"/>
                </a:ext>
              </a:extLst>
            </p:cNvPr>
            <p:cNvSpPr txBox="1"/>
            <p:nvPr/>
          </p:nvSpPr>
          <p:spPr>
            <a:xfrm>
              <a:off x="7639050" y="4431439"/>
              <a:ext cx="3116978" cy="86793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1400" dirty="0" smtClean="0">
                  <a:solidFill>
                    <a:schemeClr val="tx1">
                      <a:lumMod val="85000"/>
                      <a:lumOff val="15000"/>
                      <a:alpha val="80000"/>
                    </a:schemeClr>
                  </a:solidFill>
                </a:rPr>
                <a:t>当图片库</a:t>
              </a:r>
              <a:r>
                <a:rPr lang="zh-CN" altLang="en-US" sz="1400" dirty="0"/>
                <a:t>标签总数不变图⽚总数</a:t>
              </a:r>
              <a:r>
                <a:rPr lang="zh-CN" altLang="en-US" sz="1400" dirty="0" smtClean="0"/>
                <a:t>增加</a:t>
              </a:r>
              <a:endParaRPr lang="en-US" altLang="zh-CN" sz="1400" dirty="0" smtClean="0"/>
            </a:p>
            <a:p>
              <a:pPr>
                <a:lnSpc>
                  <a:spcPct val="120000"/>
                </a:lnSpc>
              </a:pPr>
              <a:r>
                <a:rPr lang="zh-CN" altLang="en-US" sz="1400" dirty="0">
                  <a:solidFill>
                    <a:schemeClr val="tx1">
                      <a:lumMod val="85000"/>
                      <a:lumOff val="15000"/>
                      <a:alpha val="80000"/>
                    </a:schemeClr>
                  </a:solidFill>
                </a:rPr>
                <a:t>可</a:t>
              </a:r>
              <a:r>
                <a:rPr lang="zh-CN" altLang="en-US" sz="1400" dirty="0" smtClean="0">
                  <a:solidFill>
                    <a:schemeClr val="tx1">
                      <a:lumMod val="85000"/>
                      <a:lumOff val="15000"/>
                      <a:alpha val="80000"/>
                    </a:schemeClr>
                  </a:solidFill>
                </a:rPr>
                <a:t>调取</a:t>
              </a:r>
              <a:r>
                <a:rPr lang="en-US" altLang="zh-CN" sz="1400" dirty="0" smtClean="0">
                  <a:solidFill>
                    <a:schemeClr val="tx1">
                      <a:lumMod val="85000"/>
                      <a:lumOff val="15000"/>
                      <a:alpha val="80000"/>
                    </a:schemeClr>
                  </a:solidFill>
                </a:rPr>
                <a:t>MobileNet_verN</a:t>
              </a:r>
              <a:r>
                <a:rPr lang="zh-CN" altLang="en-US" sz="1400" dirty="0" smtClean="0">
                  <a:solidFill>
                    <a:schemeClr val="tx1">
                      <a:lumMod val="85000"/>
                      <a:lumOff val="15000"/>
                      <a:alpha val="80000"/>
                    </a:schemeClr>
                  </a:solidFill>
                </a:rPr>
                <a:t>进行迭代训练</a:t>
              </a:r>
              <a:endParaRPr lang="en-US" altLang="zh-CN" sz="1400" dirty="0" smtClean="0">
                <a:solidFill>
                  <a:schemeClr val="tx1">
                    <a:lumMod val="85000"/>
                    <a:lumOff val="15000"/>
                    <a:alpha val="80000"/>
                  </a:schemeClr>
                </a:solidFill>
              </a:endParaRPr>
            </a:p>
            <a:p>
              <a:pPr>
                <a:lnSpc>
                  <a:spcPct val="120000"/>
                </a:lnSpc>
              </a:pPr>
              <a:r>
                <a:rPr lang="zh-CN" altLang="en-US" sz="1400" dirty="0" smtClean="0">
                  <a:solidFill>
                    <a:schemeClr val="tx1">
                      <a:lumMod val="85000"/>
                      <a:lumOff val="15000"/>
                      <a:alpha val="80000"/>
                    </a:schemeClr>
                  </a:solidFill>
                </a:rPr>
                <a:t>并保存为</a:t>
              </a:r>
              <a:r>
                <a:rPr lang="en-US" altLang="zh-CN" sz="1400" dirty="0" smtClean="0">
                  <a:solidFill>
                    <a:schemeClr val="tx1">
                      <a:lumMod val="85000"/>
                      <a:lumOff val="15000"/>
                      <a:alpha val="80000"/>
                    </a:schemeClr>
                  </a:solidFill>
                </a:rPr>
                <a:t>MobileNet_verN+1</a:t>
              </a:r>
            </a:p>
          </p:txBody>
        </p:sp>
        <p:sp>
          <p:nvSpPr>
            <p:cNvPr id="11" name="îṣ1íḋe">
              <a:extLst>
                <a:ext uri="{FF2B5EF4-FFF2-40B4-BE49-F238E27FC236}">
                  <a16:creationId xmlns:a16="http://schemas.microsoft.com/office/drawing/2014/main" id="{3949F6DE-F2AA-47A2-B45C-5BFCED27A8AB}"/>
                </a:ext>
              </a:extLst>
            </p:cNvPr>
            <p:cNvSpPr/>
            <p:nvPr/>
          </p:nvSpPr>
          <p:spPr>
            <a:xfrm>
              <a:off x="2756772" y="1427890"/>
              <a:ext cx="1796178" cy="438150"/>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r>
                <a:rPr lang="zh-CN" altLang="en-US" sz="1600" b="1" dirty="0" smtClean="0">
                  <a:solidFill>
                    <a:schemeClr val="tx1">
                      <a:lumMod val="85000"/>
                      <a:lumOff val="15000"/>
                    </a:schemeClr>
                  </a:solidFill>
                </a:rPr>
                <a:t>标签匹配</a:t>
              </a:r>
              <a:endParaRPr lang="en-US" altLang="zh-CN" sz="1600" b="1" dirty="0">
                <a:solidFill>
                  <a:schemeClr val="tx1">
                    <a:lumMod val="85000"/>
                    <a:lumOff val="15000"/>
                  </a:schemeClr>
                </a:solidFill>
              </a:endParaRPr>
            </a:p>
          </p:txBody>
        </p:sp>
        <p:sp>
          <p:nvSpPr>
            <p:cNvPr id="12" name="íṧlîḋè">
              <a:extLst>
                <a:ext uri="{FF2B5EF4-FFF2-40B4-BE49-F238E27FC236}">
                  <a16:creationId xmlns:a16="http://schemas.microsoft.com/office/drawing/2014/main" id="{C93A6AED-1E15-4CFA-B72D-A7652FC170F3}"/>
                </a:ext>
              </a:extLst>
            </p:cNvPr>
            <p:cNvSpPr/>
            <p:nvPr/>
          </p:nvSpPr>
          <p:spPr>
            <a:xfrm>
              <a:off x="2756772" y="3993289"/>
              <a:ext cx="1796178" cy="438150"/>
            </a:xfrm>
            <a:prstGeom prst="rect">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r>
                <a:rPr lang="zh-CN" altLang="en-US" sz="1600" b="1" dirty="0" smtClean="0">
                  <a:solidFill>
                    <a:schemeClr val="tx1">
                      <a:lumMod val="85000"/>
                      <a:lumOff val="15000"/>
                    </a:schemeClr>
                  </a:solidFill>
                </a:rPr>
                <a:t>迁移训练模型</a:t>
              </a:r>
              <a:endParaRPr lang="en-US" altLang="zh-CN" sz="1600" b="1" dirty="0">
                <a:solidFill>
                  <a:schemeClr val="tx1">
                    <a:lumMod val="85000"/>
                    <a:lumOff val="15000"/>
                  </a:schemeClr>
                </a:solidFill>
              </a:endParaRPr>
            </a:p>
          </p:txBody>
        </p:sp>
        <p:sp>
          <p:nvSpPr>
            <p:cNvPr id="13" name="iṡliḍê">
              <a:extLst>
                <a:ext uri="{FF2B5EF4-FFF2-40B4-BE49-F238E27FC236}">
                  <a16:creationId xmlns:a16="http://schemas.microsoft.com/office/drawing/2014/main" id="{D82A7D2C-AB55-4CDE-B6E8-4AE852A39B2A}"/>
                </a:ext>
              </a:extLst>
            </p:cNvPr>
            <p:cNvSpPr txBox="1"/>
            <p:nvPr/>
          </p:nvSpPr>
          <p:spPr>
            <a:xfrm>
              <a:off x="1435972" y="1866556"/>
              <a:ext cx="3116978" cy="86793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zh-CN" altLang="en-US" sz="1400" dirty="0" smtClean="0">
                  <a:solidFill>
                    <a:schemeClr val="tx1">
                      <a:lumMod val="85000"/>
                      <a:lumOff val="15000"/>
                      <a:alpha val="80000"/>
                    </a:schemeClr>
                  </a:solidFill>
                </a:rPr>
                <a:t>提供</a:t>
              </a:r>
              <a:r>
                <a:rPr lang="en-US" altLang="zh-CN" sz="1400" dirty="0" smtClean="0">
                  <a:solidFill>
                    <a:schemeClr val="tx1">
                      <a:lumMod val="85000"/>
                      <a:lumOff val="15000"/>
                      <a:alpha val="80000"/>
                    </a:schemeClr>
                  </a:solidFill>
                </a:rPr>
                <a:t>API</a:t>
              </a:r>
              <a:r>
                <a:rPr lang="zh-CN" altLang="en-US" sz="1400" dirty="0" smtClean="0">
                  <a:solidFill>
                    <a:schemeClr val="tx1">
                      <a:lumMod val="85000"/>
                      <a:lumOff val="15000"/>
                      <a:alpha val="80000"/>
                    </a:schemeClr>
                  </a:solidFill>
                </a:rPr>
                <a:t>用于匹配图片标签</a:t>
              </a:r>
              <a:endParaRPr lang="en-US" altLang="zh-CN" sz="1400" dirty="0" smtClean="0">
                <a:solidFill>
                  <a:schemeClr val="tx1">
                    <a:lumMod val="85000"/>
                    <a:lumOff val="15000"/>
                    <a:alpha val="80000"/>
                  </a:schemeClr>
                </a:solidFill>
              </a:endParaRPr>
            </a:p>
            <a:p>
              <a:pPr algn="r">
                <a:lnSpc>
                  <a:spcPct val="120000"/>
                </a:lnSpc>
              </a:pPr>
              <a:r>
                <a:rPr lang="zh-CN" altLang="en-US" sz="1400" dirty="0" smtClean="0">
                  <a:solidFill>
                    <a:schemeClr val="tx1">
                      <a:lumMod val="85000"/>
                      <a:lumOff val="15000"/>
                      <a:alpha val="80000"/>
                    </a:schemeClr>
                  </a:solidFill>
                </a:rPr>
                <a:t>传入图片路径</a:t>
              </a:r>
              <a:endParaRPr lang="en-US" altLang="zh-CN" sz="1400" dirty="0" smtClean="0">
                <a:solidFill>
                  <a:schemeClr val="tx1">
                    <a:lumMod val="85000"/>
                    <a:lumOff val="15000"/>
                    <a:alpha val="80000"/>
                  </a:schemeClr>
                </a:solidFill>
              </a:endParaRPr>
            </a:p>
            <a:p>
              <a:pPr algn="r">
                <a:lnSpc>
                  <a:spcPct val="120000"/>
                </a:lnSpc>
              </a:pPr>
              <a:r>
                <a:rPr lang="zh-CN" altLang="en-US" sz="1400" dirty="0" smtClean="0">
                  <a:solidFill>
                    <a:schemeClr val="tx1">
                      <a:lumMod val="85000"/>
                      <a:lumOff val="15000"/>
                      <a:alpha val="80000"/>
                    </a:schemeClr>
                  </a:solidFill>
                </a:rPr>
                <a:t>返回</a:t>
              </a:r>
              <a:r>
                <a:rPr lang="en-US" altLang="zh-CN" sz="1400" dirty="0" smtClean="0">
                  <a:solidFill>
                    <a:schemeClr val="tx1">
                      <a:lumMod val="85000"/>
                      <a:lumOff val="15000"/>
                      <a:alpha val="80000"/>
                    </a:schemeClr>
                  </a:solidFill>
                </a:rPr>
                <a:t>top10</a:t>
              </a:r>
              <a:r>
                <a:rPr lang="zh-CN" altLang="en-US" sz="1400" dirty="0" smtClean="0">
                  <a:solidFill>
                    <a:schemeClr val="tx1">
                      <a:lumMod val="85000"/>
                      <a:lumOff val="15000"/>
                      <a:alpha val="80000"/>
                    </a:schemeClr>
                  </a:solidFill>
                </a:rPr>
                <a:t>最佳标签</a:t>
              </a:r>
              <a:endParaRPr lang="en-US" altLang="zh-CN" sz="1400" dirty="0">
                <a:solidFill>
                  <a:schemeClr val="tx1">
                    <a:lumMod val="85000"/>
                    <a:lumOff val="15000"/>
                    <a:alpha val="80000"/>
                  </a:schemeClr>
                </a:solidFill>
              </a:endParaRPr>
            </a:p>
          </p:txBody>
        </p:sp>
        <p:sp>
          <p:nvSpPr>
            <p:cNvPr id="14" name="iSḷíďè">
              <a:extLst>
                <a:ext uri="{FF2B5EF4-FFF2-40B4-BE49-F238E27FC236}">
                  <a16:creationId xmlns:a16="http://schemas.microsoft.com/office/drawing/2014/main" id="{80E73867-A4BF-446C-8C27-65E0E14A3987}"/>
                </a:ext>
              </a:extLst>
            </p:cNvPr>
            <p:cNvSpPr txBox="1"/>
            <p:nvPr/>
          </p:nvSpPr>
          <p:spPr>
            <a:xfrm>
              <a:off x="1435972" y="4431439"/>
              <a:ext cx="3116978" cy="86793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zh-CN" altLang="en-US" sz="1400" dirty="0">
                  <a:solidFill>
                    <a:schemeClr val="tx1">
                      <a:lumMod val="85000"/>
                      <a:lumOff val="15000"/>
                      <a:alpha val="80000"/>
                    </a:schemeClr>
                  </a:solidFill>
                </a:rPr>
                <a:t>当图片库</a:t>
              </a:r>
              <a:r>
                <a:rPr lang="zh-CN" altLang="en-US" sz="1400" dirty="0"/>
                <a:t>标签</a:t>
              </a:r>
              <a:r>
                <a:rPr lang="zh-CN" altLang="en-US" sz="1400" dirty="0" smtClean="0"/>
                <a:t>总数</a:t>
              </a:r>
              <a:r>
                <a:rPr lang="zh-CN" altLang="en-US" sz="1400" dirty="0"/>
                <a:t>增加</a:t>
              </a:r>
              <a:r>
                <a:rPr lang="zh-CN" altLang="en-US" sz="1400" dirty="0" smtClean="0"/>
                <a:t>图⽚总数</a:t>
              </a:r>
              <a:r>
                <a:rPr lang="zh-CN" altLang="en-US" sz="1400" dirty="0"/>
                <a:t>不变</a:t>
              </a:r>
              <a:endParaRPr lang="en-US" altLang="zh-CN" sz="1400" dirty="0"/>
            </a:p>
            <a:p>
              <a:pPr algn="r">
                <a:lnSpc>
                  <a:spcPct val="120000"/>
                </a:lnSpc>
              </a:pPr>
              <a:r>
                <a:rPr lang="zh-CN" altLang="en-US" sz="1400" dirty="0">
                  <a:solidFill>
                    <a:schemeClr val="tx1">
                      <a:lumMod val="85000"/>
                      <a:lumOff val="15000"/>
                      <a:alpha val="80000"/>
                    </a:schemeClr>
                  </a:solidFill>
                </a:rPr>
                <a:t>调取</a:t>
              </a:r>
              <a:r>
                <a:rPr lang="en-US" altLang="zh-CN" sz="1400" dirty="0">
                  <a:solidFill>
                    <a:schemeClr val="tx1">
                      <a:lumMod val="85000"/>
                      <a:lumOff val="15000"/>
                      <a:alpha val="80000"/>
                    </a:schemeClr>
                  </a:solidFill>
                </a:rPr>
                <a:t>MobileNet_verN</a:t>
              </a:r>
              <a:r>
                <a:rPr lang="zh-CN" altLang="en-US" sz="1400" dirty="0" smtClean="0">
                  <a:solidFill>
                    <a:schemeClr val="tx1">
                      <a:lumMod val="85000"/>
                      <a:lumOff val="15000"/>
                      <a:alpha val="80000"/>
                    </a:schemeClr>
                  </a:solidFill>
                </a:rPr>
                <a:t>进行迁移学习</a:t>
              </a:r>
              <a:endParaRPr lang="en-US" altLang="zh-CN" sz="1400" dirty="0" smtClean="0">
                <a:solidFill>
                  <a:schemeClr val="tx1">
                    <a:lumMod val="85000"/>
                    <a:lumOff val="15000"/>
                    <a:alpha val="80000"/>
                  </a:schemeClr>
                </a:solidFill>
              </a:endParaRPr>
            </a:p>
            <a:p>
              <a:pPr algn="r">
                <a:lnSpc>
                  <a:spcPct val="120000"/>
                </a:lnSpc>
              </a:pPr>
              <a:r>
                <a:rPr lang="zh-CN" altLang="en-US" sz="1400" dirty="0" smtClean="0">
                  <a:solidFill>
                    <a:schemeClr val="tx1">
                      <a:lumMod val="85000"/>
                      <a:lumOff val="15000"/>
                      <a:alpha val="80000"/>
                    </a:schemeClr>
                  </a:solidFill>
                </a:rPr>
                <a:t>并保存为</a:t>
              </a:r>
              <a:r>
                <a:rPr lang="en-US" altLang="zh-CN" sz="1400" dirty="0">
                  <a:solidFill>
                    <a:schemeClr val="tx1">
                      <a:lumMod val="85000"/>
                      <a:lumOff val="15000"/>
                      <a:alpha val="80000"/>
                    </a:schemeClr>
                  </a:solidFill>
                </a:rPr>
                <a:t>MobileNet_verN+1</a:t>
              </a:r>
            </a:p>
          </p:txBody>
        </p:sp>
        <p:sp>
          <p:nvSpPr>
            <p:cNvPr id="15" name="iSḷíďè">
              <a:extLst>
                <a:ext uri="{FF2B5EF4-FFF2-40B4-BE49-F238E27FC236}">
                  <a16:creationId xmlns:a16="http://schemas.microsoft.com/office/drawing/2014/main" id="{E51E4B38-D316-4C28-99FA-AF6AA84A6884}"/>
                </a:ext>
              </a:extLst>
            </p:cNvPr>
            <p:cNvSpPr/>
            <p:nvPr/>
          </p:nvSpPr>
          <p:spPr>
            <a:xfrm>
              <a:off x="5818854" y="1519965"/>
              <a:ext cx="450949" cy="254000"/>
            </a:xfrm>
            <a:prstGeom prst="rightArrow">
              <a:avLst/>
            </a:prstGeom>
            <a:gradFill>
              <a:gsLst>
                <a:gs pos="0">
                  <a:schemeClr val="accent1">
                    <a:alpha val="0"/>
                  </a:schemeClr>
                </a:gs>
                <a:gs pos="100000">
                  <a:schemeClr val="accent1"/>
                </a:gs>
              </a:gsLst>
              <a:lin ang="0" scaled="0"/>
            </a:gra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dirty="0">
                <a:solidFill>
                  <a:schemeClr val="bg1"/>
                </a:solidFill>
              </a:endParaRPr>
            </a:p>
          </p:txBody>
        </p:sp>
        <p:sp>
          <p:nvSpPr>
            <p:cNvPr id="16" name="iṧ1ïḓê">
              <a:extLst>
                <a:ext uri="{FF2B5EF4-FFF2-40B4-BE49-F238E27FC236}">
                  <a16:creationId xmlns:a16="http://schemas.microsoft.com/office/drawing/2014/main" id="{480C8B5C-B263-44BD-93A4-77030407E174}"/>
                </a:ext>
              </a:extLst>
            </p:cNvPr>
            <p:cNvSpPr/>
            <p:nvPr/>
          </p:nvSpPr>
          <p:spPr>
            <a:xfrm flipH="1">
              <a:off x="5818854" y="4085364"/>
              <a:ext cx="450949" cy="254000"/>
            </a:xfrm>
            <a:prstGeom prst="rightArrow">
              <a:avLst/>
            </a:prstGeom>
            <a:gradFill>
              <a:gsLst>
                <a:gs pos="0">
                  <a:schemeClr val="accent1">
                    <a:alpha val="0"/>
                  </a:schemeClr>
                </a:gs>
                <a:gs pos="100000">
                  <a:schemeClr val="accent1"/>
                </a:gs>
              </a:gsLst>
              <a:lin ang="0" scaled="0"/>
            </a:gra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dirty="0">
                <a:solidFill>
                  <a:schemeClr val="bg1"/>
                </a:solidFill>
              </a:endParaRPr>
            </a:p>
          </p:txBody>
        </p:sp>
        <p:sp>
          <p:nvSpPr>
            <p:cNvPr id="17" name="ïSḷïḓe">
              <a:extLst>
                <a:ext uri="{FF2B5EF4-FFF2-40B4-BE49-F238E27FC236}">
                  <a16:creationId xmlns:a16="http://schemas.microsoft.com/office/drawing/2014/main" id="{89B7423C-30FE-4890-95AE-833AF4E06785}"/>
                </a:ext>
              </a:extLst>
            </p:cNvPr>
            <p:cNvSpPr/>
            <p:nvPr/>
          </p:nvSpPr>
          <p:spPr>
            <a:xfrm rot="16200000" flipH="1">
              <a:off x="8311665" y="3021739"/>
              <a:ext cx="450949" cy="254000"/>
            </a:xfrm>
            <a:prstGeom prst="rightArrow">
              <a:avLst/>
            </a:prstGeom>
            <a:gradFill>
              <a:gsLst>
                <a:gs pos="0">
                  <a:schemeClr val="accent1">
                    <a:alpha val="0"/>
                  </a:schemeClr>
                </a:gs>
                <a:gs pos="100000">
                  <a:schemeClr val="accent1"/>
                </a:gs>
              </a:gsLst>
              <a:lin ang="0" scaled="0"/>
            </a:gra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dirty="0">
                <a:solidFill>
                  <a:schemeClr val="bg1"/>
                </a:solidFill>
              </a:endParaRPr>
            </a:p>
          </p:txBody>
        </p:sp>
        <p:sp>
          <p:nvSpPr>
            <p:cNvPr id="18" name="íṡlïďè">
              <a:extLst>
                <a:ext uri="{FF2B5EF4-FFF2-40B4-BE49-F238E27FC236}">
                  <a16:creationId xmlns:a16="http://schemas.microsoft.com/office/drawing/2014/main" id="{A08D1C7E-F9C7-4BE3-AA6F-A7757724F0E2}"/>
                </a:ext>
              </a:extLst>
            </p:cNvPr>
            <p:cNvSpPr/>
            <p:nvPr/>
          </p:nvSpPr>
          <p:spPr>
            <a:xfrm rot="5400000" flipH="1" flipV="1">
              <a:off x="3429386" y="3021739"/>
              <a:ext cx="450949" cy="254000"/>
            </a:xfrm>
            <a:prstGeom prst="rightArrow">
              <a:avLst/>
            </a:prstGeom>
            <a:gradFill>
              <a:gsLst>
                <a:gs pos="0">
                  <a:schemeClr val="accent1">
                    <a:alpha val="0"/>
                  </a:schemeClr>
                </a:gs>
                <a:gs pos="100000">
                  <a:schemeClr val="accent1"/>
                </a:gs>
              </a:gsLst>
              <a:lin ang="0" scaled="0"/>
            </a:gra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dirty="0">
                <a:solidFill>
                  <a:schemeClr val="bg1"/>
                </a:solidFill>
              </a:endParaRPr>
            </a:p>
          </p:txBody>
        </p:sp>
      </p:grpSp>
    </p:spTree>
    <p:custDataLst>
      <p:tags r:id="rId1"/>
    </p:custDataLst>
    <p:extLst>
      <p:ext uri="{BB962C8B-B14F-4D97-AF65-F5344CB8AC3E}">
        <p14:creationId xmlns:p14="http://schemas.microsoft.com/office/powerpoint/2010/main" val="353956960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采集</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7</a:t>
            </a:fld>
            <a:endParaRPr lang="zh-CN" altLang="en-US"/>
          </a:p>
        </p:txBody>
      </p:sp>
      <p:sp>
        <p:nvSpPr>
          <p:cNvPr id="7" name="文本框 6"/>
          <p:cNvSpPr txBox="1"/>
          <p:nvPr/>
        </p:nvSpPr>
        <p:spPr>
          <a:xfrm>
            <a:off x="669924" y="1266092"/>
            <a:ext cx="4631838" cy="1477328"/>
          </a:xfrm>
          <a:prstGeom prst="rect">
            <a:avLst/>
          </a:prstGeom>
          <a:noFill/>
        </p:spPr>
        <p:txBody>
          <a:bodyPr wrap="square" rtlCol="0">
            <a:spAutoFit/>
          </a:bodyPr>
          <a:lstStyle/>
          <a:p>
            <a:r>
              <a:rPr lang="zh-CN" altLang="en-US" b="1" dirty="0" smtClean="0"/>
              <a:t>创建图片库 </a:t>
            </a:r>
            <a:endParaRPr lang="en-US" altLang="zh-CN" b="1" dirty="0" smtClean="0"/>
          </a:p>
          <a:p>
            <a:r>
              <a:rPr lang="zh-CN" altLang="en-US" dirty="0" smtClean="0">
                <a:latin typeface="+mj-ea"/>
                <a:ea typeface="+mj-ea"/>
              </a:rPr>
              <a:t>参考应用场景，要</a:t>
            </a:r>
            <a:r>
              <a:rPr lang="zh-CN" altLang="en-US" dirty="0">
                <a:latin typeface="+mj-ea"/>
                <a:ea typeface="+mj-ea"/>
              </a:rPr>
              <a:t>训练⼀个可识别种类仅为我们</a:t>
            </a:r>
            <a:r>
              <a:rPr lang="zh-CN" altLang="en-US" dirty="0" smtClean="0">
                <a:latin typeface="+mj-ea"/>
                <a:ea typeface="+mj-ea"/>
              </a:rPr>
              <a:t>图片库</a:t>
            </a:r>
            <a:r>
              <a:rPr lang="zh-CN" altLang="en-US" dirty="0">
                <a:latin typeface="+mj-ea"/>
                <a:ea typeface="+mj-ea"/>
              </a:rPr>
              <a:t>所具有标签的</a:t>
            </a:r>
            <a:r>
              <a:rPr lang="zh-CN" altLang="en-US" dirty="0" smtClean="0">
                <a:latin typeface="+mj-ea"/>
                <a:ea typeface="+mj-ea"/>
              </a:rPr>
              <a:t>神经网络，首先</a:t>
            </a:r>
            <a:r>
              <a:rPr lang="zh-CN" altLang="en-US" dirty="0">
                <a:latin typeface="+mj-ea"/>
                <a:ea typeface="+mj-ea"/>
              </a:rPr>
              <a:t>要有⼀</a:t>
            </a:r>
            <a:r>
              <a:rPr lang="zh-CN" altLang="en-US" dirty="0" smtClean="0">
                <a:latin typeface="+mj-ea"/>
                <a:ea typeface="+mj-ea"/>
              </a:rPr>
              <a:t>个</a:t>
            </a:r>
            <a:r>
              <a:rPr lang="zh-CN" altLang="en-US" dirty="0">
                <a:latin typeface="+mj-ea"/>
                <a:ea typeface="+mj-ea"/>
              </a:rPr>
              <a:t>自己</a:t>
            </a:r>
            <a:r>
              <a:rPr lang="zh-CN" altLang="en-US" dirty="0" smtClean="0">
                <a:latin typeface="+mj-ea"/>
                <a:ea typeface="+mj-ea"/>
              </a:rPr>
              <a:t>的图片库。</a:t>
            </a:r>
            <a:endParaRPr lang="en-US" altLang="zh-CN" dirty="0">
              <a:latin typeface="+mj-ea"/>
              <a:ea typeface="+mj-ea"/>
            </a:endParaRPr>
          </a:p>
          <a:p>
            <a:endParaRPr lang="en-US" altLang="zh-CN" dirty="0">
              <a:latin typeface="+mj-ea"/>
              <a:ea typeface="+mj-ea"/>
            </a:endParaRPr>
          </a:p>
        </p:txBody>
      </p:sp>
      <p:pic>
        <p:nvPicPr>
          <p:cNvPr id="8" name="图片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9831" y="1138804"/>
            <a:ext cx="4642338" cy="2786420"/>
          </a:xfrm>
          <a:prstGeom prst="rect">
            <a:avLst/>
          </a:prstGeom>
        </p:spPr>
      </p:pic>
      <p:sp>
        <p:nvSpPr>
          <p:cNvPr id="9" name="文本框 8"/>
          <p:cNvSpPr txBox="1"/>
          <p:nvPr/>
        </p:nvSpPr>
        <p:spPr>
          <a:xfrm>
            <a:off x="5616634" y="4035329"/>
            <a:ext cx="5171527" cy="1200329"/>
          </a:xfrm>
          <a:prstGeom prst="rect">
            <a:avLst/>
          </a:prstGeom>
          <a:noFill/>
        </p:spPr>
        <p:txBody>
          <a:bodyPr wrap="square" rtlCol="0">
            <a:spAutoFit/>
          </a:bodyPr>
          <a:lstStyle/>
          <a:p>
            <a:endParaRPr lang="en-US" altLang="zh-CN" dirty="0">
              <a:latin typeface="+mj-ea"/>
            </a:endParaRPr>
          </a:p>
          <a:p>
            <a:r>
              <a:rPr lang="zh-CN" altLang="en-US" dirty="0">
                <a:latin typeface="+mj-ea"/>
              </a:rPr>
              <a:t>最后选择在</a:t>
            </a:r>
            <a:r>
              <a:rPr lang="en-US" altLang="zh-CN" dirty="0" err="1">
                <a:latin typeface="+mj-ea"/>
              </a:rPr>
              <a:t>Pixabay</a:t>
            </a:r>
            <a:r>
              <a:rPr lang="zh-CN" altLang="en-US" dirty="0">
                <a:latin typeface="+mj-ea"/>
              </a:rPr>
              <a:t>上爬取摄影图片，总共爬取了 </a:t>
            </a:r>
            <a:r>
              <a:rPr lang="en-US" altLang="zh-CN" dirty="0">
                <a:latin typeface="+mj-ea"/>
              </a:rPr>
              <a:t>15000</a:t>
            </a:r>
            <a:r>
              <a:rPr lang="zh-CN" altLang="en-US" dirty="0">
                <a:latin typeface="+mj-ea"/>
              </a:rPr>
              <a:t>余张图片，</a:t>
            </a:r>
            <a:r>
              <a:rPr lang="en-US" altLang="zh-CN" dirty="0">
                <a:latin typeface="+mj-ea"/>
              </a:rPr>
              <a:t>53</a:t>
            </a:r>
            <a:r>
              <a:rPr lang="zh-CN" altLang="en-US" dirty="0">
                <a:latin typeface="+mj-ea"/>
              </a:rPr>
              <a:t>个种类 ，每种最少</a:t>
            </a:r>
            <a:r>
              <a:rPr lang="en-US" altLang="zh-CN" dirty="0">
                <a:latin typeface="+mj-ea"/>
              </a:rPr>
              <a:t>200</a:t>
            </a:r>
            <a:r>
              <a:rPr lang="zh-CN" altLang="en-US" dirty="0">
                <a:latin typeface="+mj-ea"/>
              </a:rPr>
              <a:t>张，最多</a:t>
            </a:r>
            <a:r>
              <a:rPr lang="en-US" altLang="zh-CN" dirty="0">
                <a:latin typeface="+mj-ea"/>
              </a:rPr>
              <a:t>600</a:t>
            </a:r>
            <a:r>
              <a:rPr lang="zh-CN" altLang="en-US" dirty="0">
                <a:latin typeface="+mj-ea"/>
              </a:rPr>
              <a:t>余张。</a:t>
            </a:r>
            <a:endParaRPr lang="zh-CN" altLang="en-US" dirty="0">
              <a:latin typeface="+mn-ea"/>
            </a:endParaRPr>
          </a:p>
        </p:txBody>
      </p:sp>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9924" y="3455376"/>
            <a:ext cx="4631838" cy="2419177"/>
          </a:xfrm>
          <a:prstGeom prst="rect">
            <a:avLst/>
          </a:prstGeom>
        </p:spPr>
      </p:pic>
    </p:spTree>
    <p:custDataLst>
      <p:tags r:id="rId1"/>
    </p:custDataLst>
    <p:extLst>
      <p:ext uri="{BB962C8B-B14F-4D97-AF65-F5344CB8AC3E}">
        <p14:creationId xmlns:p14="http://schemas.microsoft.com/office/powerpoint/2010/main" val="416126242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采集</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8</a:t>
            </a:fld>
            <a:endParaRPr lang="zh-CN" altLang="en-US"/>
          </a:p>
        </p:txBody>
      </p:sp>
      <p:sp>
        <p:nvSpPr>
          <p:cNvPr id="7" name="文本框 6"/>
          <p:cNvSpPr txBox="1"/>
          <p:nvPr/>
        </p:nvSpPr>
        <p:spPr>
          <a:xfrm>
            <a:off x="1248665" y="3793827"/>
            <a:ext cx="2131029" cy="369332"/>
          </a:xfrm>
          <a:prstGeom prst="rect">
            <a:avLst/>
          </a:prstGeom>
          <a:noFill/>
        </p:spPr>
        <p:txBody>
          <a:bodyPr wrap="square" rtlCol="0">
            <a:spAutoFit/>
          </a:bodyPr>
          <a:lstStyle/>
          <a:p>
            <a:r>
              <a:rPr lang="en-US" altLang="zh-CN" b="1" dirty="0"/>
              <a:t>s</a:t>
            </a:r>
            <a:r>
              <a:rPr lang="en-US" altLang="zh-CN" b="1" dirty="0" smtClean="0"/>
              <a:t>ummer/110.jpg</a:t>
            </a:r>
            <a:endParaRPr lang="en-US" altLang="zh-CN" dirty="0">
              <a:latin typeface="+mj-ea"/>
              <a:ea typeface="+mj-ea"/>
            </a:endParaRPr>
          </a:p>
        </p:txBody>
      </p:sp>
      <p:sp>
        <p:nvSpPr>
          <p:cNvPr id="9" name="文本框 8"/>
          <p:cNvSpPr txBox="1"/>
          <p:nvPr/>
        </p:nvSpPr>
        <p:spPr>
          <a:xfrm>
            <a:off x="3642296" y="4163159"/>
            <a:ext cx="5171527" cy="1477328"/>
          </a:xfrm>
          <a:prstGeom prst="rect">
            <a:avLst/>
          </a:prstGeom>
          <a:noFill/>
        </p:spPr>
        <p:txBody>
          <a:bodyPr wrap="square" rtlCol="0">
            <a:spAutoFit/>
          </a:bodyPr>
          <a:lstStyle/>
          <a:p>
            <a:endParaRPr lang="en-US" altLang="zh-CN" dirty="0">
              <a:latin typeface="+mj-ea"/>
            </a:endParaRPr>
          </a:p>
          <a:p>
            <a:endParaRPr lang="en-US" altLang="zh-CN" dirty="0">
              <a:latin typeface="+mj-ea"/>
            </a:endParaRPr>
          </a:p>
          <a:p>
            <a:r>
              <a:rPr lang="zh-CN" altLang="en-US" dirty="0">
                <a:latin typeface="+mj-ea"/>
              </a:rPr>
              <a:t>图片库后续只会新容纳艺术风格的摄影照片，与直接可获取的数据包获得的素材有较大的区别，艺术摄影具有场景复杂，标签不够明确的特点。</a:t>
            </a:r>
            <a:endParaRPr lang="en-US" altLang="zh-CN" dirty="0">
              <a:latin typeface="+mj-ea"/>
            </a:endParaRP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84812" y="1326775"/>
            <a:ext cx="3553772" cy="2369181"/>
          </a:xfrm>
          <a:prstGeom prst="rect">
            <a:avLst/>
          </a:prstGeom>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12004" y="1319006"/>
            <a:ext cx="3232113" cy="2376950"/>
          </a:xfrm>
          <a:prstGeom prst="rect">
            <a:avLst/>
          </a:prstGeom>
        </p:spPr>
      </p:pic>
      <p:pic>
        <p:nvPicPr>
          <p:cNvPr id="11" name="图片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9924" y="1319006"/>
            <a:ext cx="3564911" cy="2369181"/>
          </a:xfrm>
          <a:prstGeom prst="rect">
            <a:avLst/>
          </a:prstGeom>
        </p:spPr>
      </p:pic>
      <p:sp>
        <p:nvSpPr>
          <p:cNvPr id="12" name="文本框 11"/>
          <p:cNvSpPr txBox="1"/>
          <p:nvPr/>
        </p:nvSpPr>
        <p:spPr>
          <a:xfrm>
            <a:off x="5605512" y="3793827"/>
            <a:ext cx="2131029" cy="369332"/>
          </a:xfrm>
          <a:prstGeom prst="rect">
            <a:avLst/>
          </a:prstGeom>
          <a:noFill/>
        </p:spPr>
        <p:txBody>
          <a:bodyPr wrap="square" rtlCol="0">
            <a:spAutoFit/>
          </a:bodyPr>
          <a:lstStyle/>
          <a:p>
            <a:r>
              <a:rPr lang="en-US" altLang="zh-CN" b="1" dirty="0" smtClean="0"/>
              <a:t>girl/077.jpg</a:t>
            </a:r>
            <a:endParaRPr lang="en-US" altLang="zh-CN" dirty="0">
              <a:latin typeface="+mj-ea"/>
              <a:ea typeface="+mj-ea"/>
            </a:endParaRPr>
          </a:p>
        </p:txBody>
      </p:sp>
      <p:sp>
        <p:nvSpPr>
          <p:cNvPr id="13" name="文本框 12"/>
          <p:cNvSpPr txBox="1"/>
          <p:nvPr/>
        </p:nvSpPr>
        <p:spPr>
          <a:xfrm>
            <a:off x="9076425" y="3793827"/>
            <a:ext cx="2131029" cy="369332"/>
          </a:xfrm>
          <a:prstGeom prst="rect">
            <a:avLst/>
          </a:prstGeom>
          <a:noFill/>
        </p:spPr>
        <p:txBody>
          <a:bodyPr wrap="square" rtlCol="0">
            <a:spAutoFit/>
          </a:bodyPr>
          <a:lstStyle/>
          <a:p>
            <a:r>
              <a:rPr lang="en-US" altLang="zh-CN" b="1" dirty="0" smtClean="0"/>
              <a:t>autumn/214.jpg</a:t>
            </a:r>
            <a:endParaRPr lang="en-US" altLang="zh-CN" dirty="0">
              <a:latin typeface="+mj-ea"/>
              <a:ea typeface="+mj-ea"/>
            </a:endParaRPr>
          </a:p>
        </p:txBody>
      </p:sp>
    </p:spTree>
    <p:custDataLst>
      <p:tags r:id="rId1"/>
    </p:custDataLst>
    <p:extLst>
      <p:ext uri="{BB962C8B-B14F-4D97-AF65-F5344CB8AC3E}">
        <p14:creationId xmlns:p14="http://schemas.microsoft.com/office/powerpoint/2010/main" val="421765026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MobileNet_ver1 </a:t>
            </a:r>
            <a:r>
              <a:rPr lang="zh-CN" altLang="en-US" dirty="0" smtClean="0"/>
              <a:t>的构建</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9</a:t>
            </a:fld>
            <a:endParaRPr lang="zh-CN" altLang="en-US"/>
          </a:p>
        </p:txBody>
      </p:sp>
      <p:sp>
        <p:nvSpPr>
          <p:cNvPr id="3" name="文本框 2"/>
          <p:cNvSpPr txBox="1"/>
          <p:nvPr/>
        </p:nvSpPr>
        <p:spPr>
          <a:xfrm>
            <a:off x="669924" y="1292469"/>
            <a:ext cx="4007584" cy="3693319"/>
          </a:xfrm>
          <a:prstGeom prst="rect">
            <a:avLst/>
          </a:prstGeom>
          <a:noFill/>
        </p:spPr>
        <p:txBody>
          <a:bodyPr wrap="square" rtlCol="0">
            <a:spAutoFit/>
          </a:bodyPr>
          <a:lstStyle/>
          <a:p>
            <a:r>
              <a:rPr lang="zh-CN" altLang="en-US" b="1" dirty="0"/>
              <a:t>考虑模型及</a:t>
            </a:r>
            <a:r>
              <a:rPr lang="zh-CN" altLang="en-US" b="1" dirty="0" smtClean="0"/>
              <a:t>训练</a:t>
            </a:r>
            <a:r>
              <a:rPr lang="zh-CN" altLang="en-US" b="1" dirty="0"/>
              <a:t>方</a:t>
            </a:r>
            <a:r>
              <a:rPr lang="zh-CN" altLang="en-US" b="1" dirty="0" smtClean="0"/>
              <a:t>案</a:t>
            </a:r>
            <a:r>
              <a:rPr lang="zh-CN" altLang="en-US" b="1" dirty="0"/>
              <a:t>： </a:t>
            </a:r>
            <a:endParaRPr lang="en-US" altLang="zh-CN" b="1" dirty="0"/>
          </a:p>
          <a:p>
            <a:r>
              <a:rPr lang="zh-CN" altLang="en-US" dirty="0" smtClean="0"/>
              <a:t>构建</a:t>
            </a:r>
            <a:r>
              <a:rPr lang="zh-CN" altLang="en-US" dirty="0"/>
              <a:t>卷积</a:t>
            </a:r>
            <a:r>
              <a:rPr lang="zh-CN" altLang="en-US" dirty="0" smtClean="0"/>
              <a:t>神经网络的方式有两种：</a:t>
            </a:r>
            <a:endParaRPr lang="en-US" altLang="zh-CN" dirty="0" smtClean="0"/>
          </a:p>
          <a:p>
            <a:r>
              <a:rPr lang="en-US" altLang="zh-CN" dirty="0" smtClean="0"/>
              <a:t>1</a:t>
            </a:r>
            <a:r>
              <a:rPr lang="en-US" altLang="zh-CN" dirty="0"/>
              <a:t>.</a:t>
            </a:r>
            <a:r>
              <a:rPr lang="zh-CN" altLang="en-US" dirty="0" smtClean="0"/>
              <a:t>采用某种</a:t>
            </a:r>
            <a:r>
              <a:rPr lang="zh-CN" altLang="en-US" dirty="0"/>
              <a:t>已有的架构</a:t>
            </a:r>
            <a:r>
              <a:rPr lang="zh-CN" altLang="en-US" dirty="0" smtClean="0"/>
              <a:t>或自定义</a:t>
            </a:r>
            <a:r>
              <a:rPr lang="zh-CN" altLang="en-US" dirty="0"/>
              <a:t>架构 从零开始训练模型的全部权重</a:t>
            </a:r>
            <a:r>
              <a:rPr lang="zh-CN" altLang="en-US" dirty="0" smtClean="0"/>
              <a:t>；</a:t>
            </a:r>
            <a:endParaRPr lang="en-US" altLang="zh-CN" dirty="0" smtClean="0"/>
          </a:p>
          <a:p>
            <a:endParaRPr lang="en-US" altLang="zh-CN" dirty="0" smtClean="0"/>
          </a:p>
          <a:p>
            <a:r>
              <a:rPr lang="en-US" altLang="zh-CN" dirty="0" smtClean="0"/>
              <a:t>2.</a:t>
            </a:r>
            <a:r>
              <a:rPr lang="zh-CN" altLang="en-US" dirty="0" smtClean="0"/>
              <a:t>采用已经</a:t>
            </a:r>
            <a:r>
              <a:rPr lang="zh-CN" altLang="en-US" dirty="0"/>
              <a:t>训练好的某种架构的卷积基结合全连接分类器</a:t>
            </a:r>
            <a:r>
              <a:rPr lang="zh-CN" altLang="en-US" dirty="0" smtClean="0"/>
              <a:t>进</a:t>
            </a:r>
            <a:r>
              <a:rPr lang="zh-CN" altLang="en-US" dirty="0"/>
              <a:t>行</a:t>
            </a:r>
            <a:r>
              <a:rPr lang="zh-CN" altLang="en-US" dirty="0" smtClean="0"/>
              <a:t>迁移</a:t>
            </a:r>
            <a:r>
              <a:rPr lang="zh-CN" altLang="en-US" dirty="0"/>
              <a:t>学习。 </a:t>
            </a:r>
            <a:endParaRPr lang="en-US" altLang="zh-CN" dirty="0" smtClean="0"/>
          </a:p>
          <a:p>
            <a:endParaRPr lang="en-US" altLang="zh-CN" dirty="0" smtClean="0"/>
          </a:p>
          <a:p>
            <a:r>
              <a:rPr lang="zh-CN" altLang="en-US" dirty="0" smtClean="0"/>
              <a:t>开始尝试了方案</a:t>
            </a:r>
            <a:r>
              <a:rPr lang="zh-CN" altLang="en-US" dirty="0"/>
              <a:t>⼀，</a:t>
            </a:r>
            <a:r>
              <a:rPr lang="zh-CN" altLang="en-US" dirty="0" smtClean="0"/>
              <a:t>但是方案</a:t>
            </a:r>
            <a:r>
              <a:rPr lang="zh-CN" altLang="en-US" dirty="0"/>
              <a:t>⼀的缺点是，当在</a:t>
            </a:r>
            <a:r>
              <a:rPr lang="zh-CN" altLang="en-US" dirty="0" smtClean="0"/>
              <a:t>较</a:t>
            </a:r>
            <a:r>
              <a:rPr lang="zh-CN" altLang="en-US" dirty="0"/>
              <a:t>小</a:t>
            </a:r>
            <a:r>
              <a:rPr lang="zh-CN" altLang="en-US" dirty="0" smtClean="0"/>
              <a:t>的</a:t>
            </a:r>
            <a:r>
              <a:rPr lang="zh-CN" altLang="en-US" dirty="0"/>
              <a:t>数据集上</a:t>
            </a:r>
            <a:r>
              <a:rPr lang="zh-CN" altLang="en-US" dirty="0" smtClean="0"/>
              <a:t>使用较为庞大的</a:t>
            </a:r>
            <a:r>
              <a:rPr lang="zh-CN" altLang="en-US" dirty="0"/>
              <a:t>现代卷积</a:t>
            </a:r>
            <a:r>
              <a:rPr lang="zh-CN" altLang="en-US" dirty="0" smtClean="0"/>
              <a:t>神经网络</a:t>
            </a:r>
            <a:r>
              <a:rPr lang="zh-CN" altLang="en-US" dirty="0"/>
              <a:t>架构时，往往会出现严重的过</a:t>
            </a:r>
            <a:r>
              <a:rPr lang="zh-CN" altLang="en-US" dirty="0" smtClean="0"/>
              <a:t>拟合</a:t>
            </a:r>
            <a:r>
              <a:rPr lang="zh-CN" altLang="en-US" dirty="0"/>
              <a:t>现象</a:t>
            </a:r>
            <a:r>
              <a:rPr lang="zh-CN" altLang="en-US" dirty="0" smtClean="0"/>
              <a:t>，从</a:t>
            </a:r>
            <a:r>
              <a:rPr lang="zh-CN" altLang="en-US" dirty="0"/>
              <a:t>根本上缺少可</a:t>
            </a:r>
            <a:r>
              <a:rPr lang="zh-CN" altLang="en-US" dirty="0" smtClean="0"/>
              <a:t>学习的图片特征</a:t>
            </a:r>
            <a:r>
              <a:rPr lang="zh-CN" altLang="en-US" dirty="0"/>
              <a:t>。</a:t>
            </a:r>
          </a:p>
        </p:txBody>
      </p:sp>
      <p:sp>
        <p:nvSpPr>
          <p:cNvPr id="5" name="文本框 4"/>
          <p:cNvSpPr txBox="1"/>
          <p:nvPr/>
        </p:nvSpPr>
        <p:spPr>
          <a:xfrm>
            <a:off x="5882054" y="1292469"/>
            <a:ext cx="5750169" cy="2031325"/>
          </a:xfrm>
          <a:prstGeom prst="rect">
            <a:avLst/>
          </a:prstGeom>
          <a:noFill/>
        </p:spPr>
        <p:txBody>
          <a:bodyPr wrap="square" rtlCol="0">
            <a:spAutoFit/>
          </a:bodyPr>
          <a:lstStyle/>
          <a:p>
            <a:r>
              <a:rPr lang="en-US" altLang="zh-CN" b="1" dirty="0"/>
              <a:t>MobileNetV2</a:t>
            </a:r>
            <a:r>
              <a:rPr lang="zh-CN" altLang="en-US" b="1" dirty="0"/>
              <a:t>迁移学习</a:t>
            </a:r>
            <a:r>
              <a:rPr lang="zh-CN" altLang="en-US" b="1" dirty="0" smtClean="0"/>
              <a:t>：</a:t>
            </a:r>
            <a:endParaRPr lang="en-US" altLang="zh-CN" b="1" dirty="0" smtClean="0"/>
          </a:p>
          <a:p>
            <a:r>
              <a:rPr lang="zh-CN" altLang="en-US" b="1" dirty="0" smtClean="0"/>
              <a:t> </a:t>
            </a:r>
            <a:r>
              <a:rPr lang="zh-CN" altLang="en-US" dirty="0"/>
              <a:t>最终选择了迁移学习</a:t>
            </a:r>
            <a:r>
              <a:rPr lang="zh-CN" altLang="en-US" dirty="0" smtClean="0"/>
              <a:t>的方法</a:t>
            </a:r>
            <a:r>
              <a:rPr lang="zh-CN" altLang="en-US" dirty="0"/>
              <a:t>，迁移的模型是</a:t>
            </a:r>
            <a:r>
              <a:rPr lang="en-US" altLang="zh-CN" dirty="0" err="1"/>
              <a:t>Tensorflow</a:t>
            </a:r>
            <a:r>
              <a:rPr lang="zh-CN" altLang="en-US" dirty="0" smtClean="0"/>
              <a:t>官方发布</a:t>
            </a:r>
            <a:r>
              <a:rPr lang="zh-CN" altLang="en-US" dirty="0"/>
              <a:t>的</a:t>
            </a:r>
            <a:r>
              <a:rPr lang="zh-CN" altLang="en-US" dirty="0" smtClean="0"/>
              <a:t>使用 </a:t>
            </a:r>
            <a:r>
              <a:rPr lang="en-US" altLang="zh-CN" dirty="0"/>
              <a:t>ImageNet</a:t>
            </a:r>
            <a:r>
              <a:rPr lang="zh-CN" altLang="en-US" dirty="0" smtClean="0"/>
              <a:t>图片库</a:t>
            </a:r>
            <a:r>
              <a:rPr lang="zh-CN" altLang="en-US" dirty="0"/>
              <a:t>训练好的</a:t>
            </a:r>
            <a:r>
              <a:rPr lang="en-US" altLang="zh-CN" dirty="0"/>
              <a:t>MobileNetV2</a:t>
            </a:r>
            <a:r>
              <a:rPr lang="zh-CN" altLang="en-US" dirty="0"/>
              <a:t>模型</a:t>
            </a:r>
            <a:r>
              <a:rPr lang="zh-CN" altLang="en-US" dirty="0" smtClean="0"/>
              <a:t>。</a:t>
            </a:r>
            <a:endParaRPr lang="en-US" altLang="zh-CN" dirty="0" smtClean="0"/>
          </a:p>
          <a:p>
            <a:endParaRPr lang="en-US" altLang="zh-CN" dirty="0"/>
          </a:p>
          <a:p>
            <a:r>
              <a:rPr lang="zh-CN" altLang="en-US" dirty="0" smtClean="0"/>
              <a:t>该</a:t>
            </a:r>
            <a:r>
              <a:rPr lang="zh-CN" altLang="en-US" dirty="0"/>
              <a:t>模型的特点是参数总数较少， </a:t>
            </a:r>
            <a:r>
              <a:rPr lang="zh-CN" altLang="en-US" dirty="0" smtClean="0"/>
              <a:t>训练速度</a:t>
            </a:r>
            <a:r>
              <a:rPr lang="zh-CN" altLang="en-US" dirty="0"/>
              <a:t>快</a:t>
            </a:r>
            <a:r>
              <a:rPr lang="zh-CN" altLang="en-US" dirty="0" smtClean="0"/>
              <a:t>，同时预测准确率高于</a:t>
            </a:r>
            <a:r>
              <a:rPr lang="en-US" altLang="zh-CN" dirty="0" smtClean="0"/>
              <a:t>VGG16</a:t>
            </a:r>
            <a:r>
              <a:rPr lang="zh-CN" altLang="en-US" dirty="0" smtClean="0"/>
              <a:t>。</a:t>
            </a:r>
            <a:endParaRPr lang="zh-CN" altLang="en-US" dirty="0"/>
          </a:p>
        </p:txBody>
      </p:sp>
    </p:spTree>
    <p:custDataLst>
      <p:tags r:id="rId1"/>
    </p:custDataLst>
    <p:extLst>
      <p:ext uri="{BB962C8B-B14F-4D97-AF65-F5344CB8AC3E}">
        <p14:creationId xmlns:p14="http://schemas.microsoft.com/office/powerpoint/2010/main" val="38698732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登录页面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1073742854" name="Picture 1"/>
          <p:cNvPicPr>
            <a:picLocks noChangeAspect="1"/>
          </p:cNvPicPr>
          <p:nvPr>
            <p:custDataLst>
              <p:tags r:id="rId2"/>
            </p:custDataLst>
          </p:nvPr>
        </p:nvPicPr>
        <p:blipFill>
          <a:blip r:embed="rId4"/>
          <a:stretch>
            <a:fillRect/>
          </a:stretch>
        </p:blipFill>
        <p:spPr>
          <a:xfrm>
            <a:off x="6882765" y="1028700"/>
            <a:ext cx="5309235" cy="2607310"/>
          </a:xfrm>
          <a:prstGeom prst="rect">
            <a:avLst/>
          </a:prstGeom>
          <a:noFill/>
          <a:ln w="9525">
            <a:noFill/>
          </a:ln>
        </p:spPr>
      </p:pic>
      <p:pic>
        <p:nvPicPr>
          <p:cNvPr id="3" name="图片 -2147482624"/>
          <p:cNvPicPr>
            <a:picLocks noChangeAspect="1"/>
          </p:cNvPicPr>
          <p:nvPr/>
        </p:nvPicPr>
        <p:blipFill>
          <a:blip r:embed="rId5"/>
          <a:stretch>
            <a:fillRect/>
          </a:stretch>
        </p:blipFill>
        <p:spPr>
          <a:xfrm>
            <a:off x="0" y="1272540"/>
            <a:ext cx="4980940" cy="3437890"/>
          </a:xfrm>
          <a:prstGeom prst="rect">
            <a:avLst/>
          </a:prstGeom>
          <a:noFill/>
          <a:ln w="9525">
            <a:noFill/>
          </a:ln>
        </p:spPr>
      </p:pic>
      <p:sp>
        <p:nvSpPr>
          <p:cNvPr id="6" name="文本框 5"/>
          <p:cNvSpPr txBox="1"/>
          <p:nvPr/>
        </p:nvSpPr>
        <p:spPr>
          <a:xfrm>
            <a:off x="721995" y="5208905"/>
            <a:ext cx="4754880" cy="645160"/>
          </a:xfrm>
          <a:prstGeom prst="rect">
            <a:avLst/>
          </a:prstGeom>
          <a:noFill/>
        </p:spPr>
        <p:txBody>
          <a:bodyPr wrap="none" rtlCol="0">
            <a:spAutoFit/>
          </a:bodyPr>
          <a:lstStyle/>
          <a:p>
            <a:r>
              <a:rPr lang="zh-CN" altLang="en-US"/>
              <a:t>用户输入用户名和密码，点击登录按钮，即可</a:t>
            </a:r>
          </a:p>
          <a:p>
            <a:r>
              <a:rPr lang="zh-CN" altLang="en-US"/>
              <a:t>登录。登录后，右上角会显示当前用户名。</a:t>
            </a:r>
          </a:p>
        </p:txBody>
      </p:sp>
      <p:pic>
        <p:nvPicPr>
          <p:cNvPr id="1073742855" name="Picture 1"/>
          <p:cNvPicPr>
            <a:picLocks noChangeAspect="1"/>
          </p:cNvPicPr>
          <p:nvPr/>
        </p:nvPicPr>
        <p:blipFill>
          <a:blip r:embed="rId6"/>
          <a:stretch>
            <a:fillRect/>
          </a:stretch>
        </p:blipFill>
        <p:spPr>
          <a:xfrm>
            <a:off x="6883400" y="3997325"/>
            <a:ext cx="5308600" cy="2599690"/>
          </a:xfrm>
          <a:prstGeom prst="rect">
            <a:avLst/>
          </a:prstGeom>
          <a:noFill/>
          <a:ln w="9525">
            <a:noFill/>
          </a:ln>
        </p:spPr>
      </p:pic>
    </p:spTree>
    <p:custDataLst>
      <p:tags r:id="rId1"/>
    </p:custDataLst>
    <p:extLst>
      <p:ext uri="{BB962C8B-B14F-4D97-AF65-F5344CB8AC3E}">
        <p14:creationId xmlns:p14="http://schemas.microsoft.com/office/powerpoint/2010/main" val="422943383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MobileNet_ver1 </a:t>
            </a:r>
            <a:r>
              <a:rPr lang="zh-CN" altLang="en-US" dirty="0" smtClean="0"/>
              <a:t>的构建</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0</a:t>
            </a:fld>
            <a:endParaRPr lang="zh-CN" altLang="en-US"/>
          </a:p>
        </p:txBody>
      </p:sp>
      <p:sp>
        <p:nvSpPr>
          <p:cNvPr id="5" name="文本框 4"/>
          <p:cNvSpPr txBox="1"/>
          <p:nvPr/>
        </p:nvSpPr>
        <p:spPr>
          <a:xfrm>
            <a:off x="669922" y="1430247"/>
            <a:ext cx="10404477" cy="646331"/>
          </a:xfrm>
          <a:prstGeom prst="rect">
            <a:avLst/>
          </a:prstGeom>
          <a:noFill/>
        </p:spPr>
        <p:txBody>
          <a:bodyPr wrap="square" rtlCol="0">
            <a:spAutoFit/>
          </a:bodyPr>
          <a:lstStyle/>
          <a:p>
            <a:r>
              <a:rPr lang="zh-CN" altLang="en-US" dirty="0"/>
              <a:t>第⼀次训练的训练和验证</a:t>
            </a:r>
            <a:r>
              <a:rPr lang="en-US" altLang="zh-CN" dirty="0"/>
              <a:t>top10</a:t>
            </a:r>
            <a:r>
              <a:rPr lang="zh-CN" altLang="en-US" dirty="0"/>
              <a:t>准确率和损失值，</a:t>
            </a:r>
            <a:r>
              <a:rPr lang="zh-CN" altLang="en-US" dirty="0" smtClean="0"/>
              <a:t>如下图。</a:t>
            </a:r>
            <a:endParaRPr lang="en-US" altLang="zh-CN" dirty="0"/>
          </a:p>
          <a:p>
            <a:r>
              <a:rPr lang="zh-CN" altLang="en-US" dirty="0" smtClean="0"/>
              <a:t>可以</a:t>
            </a:r>
            <a:r>
              <a:rPr lang="zh-CN" altLang="en-US" dirty="0"/>
              <a:t>看出基本没有出现过拟合，但是识别准确率接近</a:t>
            </a:r>
            <a:r>
              <a:rPr lang="en-US" altLang="zh-CN" dirty="0"/>
              <a:t>80%</a:t>
            </a:r>
            <a:r>
              <a:rPr lang="zh-CN" altLang="en-US" dirty="0"/>
              <a:t>，还有待</a:t>
            </a:r>
            <a:r>
              <a:rPr lang="zh-CN" altLang="en-US" dirty="0" smtClean="0"/>
              <a:t>提高</a:t>
            </a:r>
            <a:endParaRPr lang="zh-CN" altLang="en-US" dirty="0"/>
          </a:p>
        </p:txBody>
      </p:sp>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031" y="2231570"/>
            <a:ext cx="5858174" cy="4393631"/>
          </a:xfrm>
          <a:prstGeom prst="rect">
            <a:avLst/>
          </a:prstGeom>
        </p:spPr>
      </p:pic>
      <p:pic>
        <p:nvPicPr>
          <p:cNvPr id="8" name="图片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58175" y="2194716"/>
            <a:ext cx="5956453" cy="4467341"/>
          </a:xfrm>
          <a:prstGeom prst="rect">
            <a:avLst/>
          </a:prstGeom>
        </p:spPr>
      </p:pic>
    </p:spTree>
    <p:custDataLst>
      <p:tags r:id="rId1"/>
    </p:custDataLst>
    <p:extLst>
      <p:ext uri="{BB962C8B-B14F-4D97-AF65-F5344CB8AC3E}">
        <p14:creationId xmlns:p14="http://schemas.microsoft.com/office/powerpoint/2010/main" val="1543978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MobileNet_ver1 </a:t>
            </a:r>
            <a:r>
              <a:rPr lang="zh-CN" altLang="en-US" dirty="0" smtClean="0"/>
              <a:t>的构建</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1</a:t>
            </a:fld>
            <a:endParaRPr lang="zh-CN" altLang="en-US"/>
          </a:p>
        </p:txBody>
      </p:sp>
      <p:sp>
        <p:nvSpPr>
          <p:cNvPr id="5" name="文本框 4"/>
          <p:cNvSpPr txBox="1"/>
          <p:nvPr/>
        </p:nvSpPr>
        <p:spPr>
          <a:xfrm>
            <a:off x="669924" y="1371600"/>
            <a:ext cx="4060338" cy="2862322"/>
          </a:xfrm>
          <a:prstGeom prst="rect">
            <a:avLst/>
          </a:prstGeom>
          <a:noFill/>
        </p:spPr>
        <p:txBody>
          <a:bodyPr wrap="square" rtlCol="0">
            <a:spAutoFit/>
          </a:bodyPr>
          <a:lstStyle/>
          <a:p>
            <a:r>
              <a:rPr lang="zh-CN" altLang="en-US" b="1" dirty="0" smtClean="0"/>
              <a:t>微调模型</a:t>
            </a:r>
            <a:r>
              <a:rPr lang="en-US" altLang="zh-CN" b="1" dirty="0" smtClean="0"/>
              <a:t>——</a:t>
            </a:r>
            <a:r>
              <a:rPr lang="zh-CN" altLang="en-US" b="1" dirty="0" smtClean="0"/>
              <a:t>解冻部分卷积基并低学习率训练：</a:t>
            </a:r>
            <a:endParaRPr lang="en-US" altLang="zh-CN" b="1" dirty="0" smtClean="0"/>
          </a:p>
          <a:p>
            <a:r>
              <a:rPr lang="zh-CN" altLang="en-US" dirty="0" smtClean="0"/>
              <a:t>解冻</a:t>
            </a:r>
            <a:r>
              <a:rPr lang="zh-CN" altLang="en-US" dirty="0"/>
              <a:t>卷积基最上⽅的 </a:t>
            </a:r>
            <a:r>
              <a:rPr lang="en-US" altLang="zh-CN" dirty="0"/>
              <a:t>55</a:t>
            </a:r>
            <a:r>
              <a:rPr lang="zh-CN" altLang="en-US" dirty="0"/>
              <a:t>层，使其中的参数会受到优化</a:t>
            </a:r>
            <a:r>
              <a:rPr lang="zh-CN" altLang="en-US" dirty="0" smtClean="0"/>
              <a:t>器梯度</a:t>
            </a:r>
            <a:r>
              <a:rPr lang="zh-CN" altLang="en-US" dirty="0"/>
              <a:t>下降，总共</a:t>
            </a:r>
            <a:r>
              <a:rPr lang="en-US" altLang="zh-CN" dirty="0"/>
              <a:t>40</a:t>
            </a:r>
            <a:r>
              <a:rPr lang="zh-CN" altLang="en-US" dirty="0"/>
              <a:t>轮训练</a:t>
            </a:r>
            <a:r>
              <a:rPr lang="zh-CN" altLang="en-US" dirty="0" smtClean="0"/>
              <a:t>。</a:t>
            </a:r>
            <a:endParaRPr lang="en-US" altLang="zh-CN" dirty="0" smtClean="0"/>
          </a:p>
          <a:p>
            <a:endParaRPr lang="en-US" altLang="zh-CN" dirty="0" smtClean="0"/>
          </a:p>
          <a:p>
            <a:r>
              <a:rPr lang="zh-CN" altLang="en-US" dirty="0" smtClean="0"/>
              <a:t>之所以</a:t>
            </a:r>
            <a:r>
              <a:rPr lang="zh-CN" altLang="en-US" dirty="0"/>
              <a:t>不在第⼀次训练的时候就进⾏微调，是</a:t>
            </a:r>
            <a:r>
              <a:rPr lang="zh-CN" altLang="en-US" dirty="0" smtClean="0"/>
              <a:t>因为需要</a:t>
            </a:r>
            <a:r>
              <a:rPr lang="zh-CN" altLang="en-US" dirty="0"/>
              <a:t>让分类器的权重具有预测性。否则，随机初始化的分类器会严重破坏</a:t>
            </a:r>
            <a:r>
              <a:rPr lang="zh-CN" altLang="en-US" dirty="0" smtClean="0"/>
              <a:t>解冻部分</a:t>
            </a:r>
            <a:r>
              <a:rPr lang="zh-CN" altLang="en-US" dirty="0"/>
              <a:t>的卷积基。</a:t>
            </a:r>
            <a:endParaRPr lang="en-US" altLang="zh-CN" b="1" dirty="0" smtClean="0"/>
          </a:p>
        </p:txBody>
      </p:sp>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0262" y="1371600"/>
            <a:ext cx="6643114" cy="2883624"/>
          </a:xfrm>
          <a:prstGeom prst="rect">
            <a:avLst/>
          </a:prstGeom>
        </p:spPr>
      </p:pic>
    </p:spTree>
    <p:custDataLst>
      <p:tags r:id="rId1"/>
    </p:custDataLst>
    <p:extLst>
      <p:ext uri="{BB962C8B-B14F-4D97-AF65-F5344CB8AC3E}">
        <p14:creationId xmlns:p14="http://schemas.microsoft.com/office/powerpoint/2010/main" val="240115280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MobileNet_ver1 </a:t>
            </a:r>
            <a:r>
              <a:rPr lang="zh-CN" altLang="en-US" dirty="0" smtClean="0"/>
              <a:t>的构建</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2</a:t>
            </a:fld>
            <a:endParaRPr lang="zh-CN" altLang="en-US"/>
          </a:p>
        </p:txBody>
      </p:sp>
      <p:sp>
        <p:nvSpPr>
          <p:cNvPr id="5" name="文本框 4"/>
          <p:cNvSpPr txBox="1"/>
          <p:nvPr/>
        </p:nvSpPr>
        <p:spPr>
          <a:xfrm>
            <a:off x="669923" y="1430247"/>
            <a:ext cx="10850564" cy="923330"/>
          </a:xfrm>
          <a:prstGeom prst="rect">
            <a:avLst/>
          </a:prstGeom>
          <a:noFill/>
        </p:spPr>
        <p:txBody>
          <a:bodyPr wrap="square" rtlCol="0">
            <a:spAutoFit/>
          </a:bodyPr>
          <a:lstStyle/>
          <a:p>
            <a:r>
              <a:rPr lang="zh-CN" altLang="en-US" dirty="0"/>
              <a:t>微调结果如图，</a:t>
            </a:r>
            <a:r>
              <a:rPr lang="en-US" altLang="zh-CN" dirty="0"/>
              <a:t>top10</a:t>
            </a:r>
            <a:r>
              <a:rPr lang="zh-CN" altLang="en-US" dirty="0"/>
              <a:t>验证准确率提⾼约</a:t>
            </a:r>
            <a:r>
              <a:rPr lang="en-US" altLang="zh-CN" dirty="0"/>
              <a:t>5%</a:t>
            </a:r>
            <a:r>
              <a:rPr lang="zh-CN" altLang="en-US" dirty="0"/>
              <a:t>，并出现了⼀定程度的过</a:t>
            </a:r>
            <a:r>
              <a:rPr lang="zh-CN" altLang="en-US" dirty="0" smtClean="0"/>
              <a:t>拟合。</a:t>
            </a:r>
            <a:endParaRPr lang="en-US" altLang="zh-CN" dirty="0" smtClean="0"/>
          </a:p>
          <a:p>
            <a:endParaRPr lang="en-US" altLang="zh-CN" dirty="0" smtClean="0"/>
          </a:p>
          <a:p>
            <a:r>
              <a:rPr lang="zh-CN" altLang="en-US" dirty="0" smtClean="0"/>
              <a:t>解冻</a:t>
            </a:r>
            <a:r>
              <a:rPr lang="zh-CN" altLang="en-US" dirty="0"/>
              <a:t>部分卷积基会增加模型的可训练参数，</a:t>
            </a:r>
            <a:r>
              <a:rPr lang="zh-CN" altLang="en-US" dirty="0" smtClean="0"/>
              <a:t>增加</a:t>
            </a:r>
            <a:r>
              <a:rPr lang="zh-CN" altLang="en-US" dirty="0"/>
              <a:t>模型拟合的能⼒，造成过拟合</a:t>
            </a:r>
            <a:r>
              <a:rPr lang="zh-CN" altLang="en-US" dirty="0" smtClean="0"/>
              <a:t>。</a:t>
            </a:r>
            <a:endParaRPr lang="en-US" altLang="zh-CN" dirty="0" smtClean="0"/>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923" y="2346577"/>
            <a:ext cx="5861506" cy="4396129"/>
          </a:xfrm>
          <a:prstGeom prst="rect">
            <a:avLst/>
          </a:prstGeom>
        </p:spPr>
      </p:pic>
      <p:pic>
        <p:nvPicPr>
          <p:cNvPr id="9" name="图片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5205" y="2346577"/>
            <a:ext cx="5852172" cy="4389129"/>
          </a:xfrm>
          <a:prstGeom prst="rect">
            <a:avLst/>
          </a:prstGeom>
        </p:spPr>
      </p:pic>
    </p:spTree>
    <p:custDataLst>
      <p:tags r:id="rId1"/>
    </p:custDataLst>
    <p:extLst>
      <p:ext uri="{BB962C8B-B14F-4D97-AF65-F5344CB8AC3E}">
        <p14:creationId xmlns:p14="http://schemas.microsoft.com/office/powerpoint/2010/main" val="74882736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MobileNet_verN”</a:t>
            </a:r>
            <a:r>
              <a:rPr lang="zh-CN" altLang="en-US" dirty="0"/>
              <a:t>迭代管理模块的设计</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3</a:t>
            </a:fld>
            <a:endParaRPr lang="zh-CN" altLang="en-US"/>
          </a:p>
        </p:txBody>
      </p:sp>
      <p:sp>
        <p:nvSpPr>
          <p:cNvPr id="5" name="文本框 4"/>
          <p:cNvSpPr txBox="1"/>
          <p:nvPr/>
        </p:nvSpPr>
        <p:spPr>
          <a:xfrm>
            <a:off x="669923" y="1430247"/>
            <a:ext cx="4598763" cy="4093428"/>
          </a:xfrm>
          <a:prstGeom prst="rect">
            <a:avLst/>
          </a:prstGeom>
          <a:noFill/>
        </p:spPr>
        <p:txBody>
          <a:bodyPr wrap="square" rtlCol="0">
            <a:spAutoFit/>
          </a:bodyPr>
          <a:lstStyle/>
          <a:p>
            <a:r>
              <a:rPr lang="zh-CN" altLang="en-US" sz="2000" dirty="0"/>
              <a:t>该模块设计为</a:t>
            </a:r>
            <a:r>
              <a:rPr lang="en-US" altLang="zh-CN" sz="2000" dirty="0"/>
              <a:t>python class </a:t>
            </a:r>
            <a:r>
              <a:rPr lang="zh-CN" altLang="en-US" sz="2000" dirty="0" smtClean="0"/>
              <a:t>，见右图 。</a:t>
            </a:r>
            <a:endParaRPr lang="en-US" altLang="zh-CN" sz="2000" dirty="0" smtClean="0"/>
          </a:p>
          <a:p>
            <a:r>
              <a:rPr lang="zh-CN" altLang="en-US" sz="2000" dirty="0" smtClean="0"/>
              <a:t>主要</a:t>
            </a:r>
            <a:r>
              <a:rPr lang="zh-CN" altLang="en-US" sz="2000" dirty="0"/>
              <a:t>的⽅法有</a:t>
            </a:r>
            <a:r>
              <a:rPr lang="zh-CN" altLang="en-US" sz="2000" dirty="0" smtClean="0"/>
              <a:t>：</a:t>
            </a:r>
            <a:endParaRPr lang="en-US" altLang="zh-CN" sz="2000" dirty="0" smtClean="0"/>
          </a:p>
          <a:p>
            <a:r>
              <a:rPr lang="zh-CN" altLang="en-US" sz="2000" dirty="0" smtClean="0"/>
              <a:t> </a:t>
            </a:r>
            <a:r>
              <a:rPr lang="en-US" altLang="zh-CN" sz="2000" dirty="0" err="1"/>
              <a:t>pd</a:t>
            </a:r>
            <a:r>
              <a:rPr lang="zh-CN" altLang="en-US" sz="2000" dirty="0"/>
              <a:t>（</a:t>
            </a:r>
            <a:r>
              <a:rPr lang="en-US" altLang="zh-CN" sz="2000" dirty="0"/>
              <a:t>link</a:t>
            </a:r>
            <a:r>
              <a:rPr lang="zh-CN" altLang="en-US" sz="2000" dirty="0"/>
              <a:t>）</a:t>
            </a:r>
            <a:r>
              <a:rPr lang="en-US" altLang="zh-CN" sz="2000" dirty="0"/>
              <a:t>——</a:t>
            </a:r>
            <a:r>
              <a:rPr lang="zh-CN" altLang="en-US" sz="2000" dirty="0"/>
              <a:t>传⼊图⽚路径，返回模型预测的前⼗概率标签 </a:t>
            </a:r>
            <a:r>
              <a:rPr lang="zh-CN" altLang="en-US" sz="2000" dirty="0" smtClean="0"/>
              <a:t>。</a:t>
            </a:r>
            <a:endParaRPr lang="en-US" altLang="zh-CN" sz="2000" dirty="0" smtClean="0"/>
          </a:p>
          <a:p>
            <a:r>
              <a:rPr lang="en-US" altLang="zh-CN" sz="2000" dirty="0"/>
              <a:t> </a:t>
            </a:r>
            <a:r>
              <a:rPr lang="en-US" altLang="zh-CN" sz="2000" dirty="0" smtClean="0"/>
              <a:t>trainv1</a:t>
            </a:r>
            <a:r>
              <a:rPr lang="zh-CN" altLang="en-US" sz="2000" dirty="0"/>
              <a:t>（）</a:t>
            </a:r>
            <a:r>
              <a:rPr lang="en-US" altLang="zh-CN" sz="2000" dirty="0"/>
              <a:t>——</a:t>
            </a:r>
            <a:r>
              <a:rPr lang="zh-CN" altLang="en-US" sz="2000" dirty="0"/>
              <a:t>在图⽚库标签总量不变的情况下，使⽤迭代模型训练全部 数据，适合有新图⽚增加的情况 </a:t>
            </a:r>
            <a:r>
              <a:rPr lang="zh-CN" altLang="en-US" sz="2000" dirty="0" smtClean="0"/>
              <a:t> 。</a:t>
            </a:r>
            <a:endParaRPr lang="en-US" altLang="zh-CN" sz="2000" dirty="0" smtClean="0"/>
          </a:p>
          <a:p>
            <a:r>
              <a:rPr lang="en-US" altLang="zh-CN" sz="2000" dirty="0" smtClean="0"/>
              <a:t>trainv2</a:t>
            </a:r>
            <a:r>
              <a:rPr lang="zh-CN" altLang="en-US" sz="2000" dirty="0"/>
              <a:t>（）</a:t>
            </a:r>
            <a:r>
              <a:rPr lang="en-US" altLang="zh-CN" sz="2000" dirty="0"/>
              <a:t>——</a:t>
            </a:r>
            <a:r>
              <a:rPr lang="zh-CN" altLang="en-US" sz="2000" dirty="0"/>
              <a:t>在图⽚库标签总量改变的情况下，重新设计分类器，并迁 移迭代模型的卷积基，适合有新图⽚类别增加的</a:t>
            </a:r>
            <a:r>
              <a:rPr lang="zh-CN" altLang="en-US" sz="2000" dirty="0" smtClean="0"/>
              <a:t>情况 。</a:t>
            </a:r>
            <a:endParaRPr lang="en-US" altLang="zh-CN" sz="2000" dirty="0" smtClean="0"/>
          </a:p>
          <a:p>
            <a:r>
              <a:rPr lang="en-US" altLang="zh-CN" sz="2000" dirty="0" smtClean="0"/>
              <a:t>plot</a:t>
            </a:r>
            <a:r>
              <a:rPr lang="zh-CN" altLang="en-US" sz="2000" dirty="0"/>
              <a:t>（）</a:t>
            </a:r>
            <a:r>
              <a:rPr lang="en-US" altLang="zh-CN" sz="2000" dirty="0"/>
              <a:t>——</a:t>
            </a:r>
            <a:r>
              <a:rPr lang="zh-CN" altLang="en-US" sz="2000" dirty="0"/>
              <a:t>辅助⽅法，⽤于打印损失和正确率图像</a:t>
            </a:r>
            <a:endParaRPr lang="en-US" altLang="zh-CN" sz="2000" dirty="0" smtClean="0"/>
          </a:p>
        </p:txBody>
      </p:sp>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027" y="1430247"/>
            <a:ext cx="4153260" cy="4618120"/>
          </a:xfrm>
          <a:prstGeom prst="rect">
            <a:avLst/>
          </a:prstGeom>
        </p:spPr>
      </p:pic>
    </p:spTree>
    <p:custDataLst>
      <p:tags r:id="rId1"/>
    </p:custDataLst>
    <p:extLst>
      <p:ext uri="{BB962C8B-B14F-4D97-AF65-F5344CB8AC3E}">
        <p14:creationId xmlns:p14="http://schemas.microsoft.com/office/powerpoint/2010/main" val="144862023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MobileNet_verN”</a:t>
            </a:r>
            <a:r>
              <a:rPr lang="zh-CN" altLang="en-US" dirty="0"/>
              <a:t>迭代管理模块的设计</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4</a:t>
            </a:fld>
            <a:endParaRPr lang="zh-CN" altLang="en-US"/>
          </a:p>
        </p:txBody>
      </p:sp>
      <p:sp>
        <p:nvSpPr>
          <p:cNvPr id="5" name="文本框 4"/>
          <p:cNvSpPr txBox="1"/>
          <p:nvPr/>
        </p:nvSpPr>
        <p:spPr>
          <a:xfrm>
            <a:off x="669923" y="1430247"/>
            <a:ext cx="10535106" cy="707886"/>
          </a:xfrm>
          <a:prstGeom prst="rect">
            <a:avLst/>
          </a:prstGeom>
          <a:noFill/>
        </p:spPr>
        <p:txBody>
          <a:bodyPr wrap="square" rtlCol="0">
            <a:spAutoFit/>
          </a:bodyPr>
          <a:lstStyle/>
          <a:p>
            <a:r>
              <a:rPr lang="en-US" altLang="zh-CN" sz="2000" b="1" dirty="0" err="1"/>
              <a:t>pd</a:t>
            </a:r>
            <a:r>
              <a:rPr lang="zh-CN" altLang="en-US" sz="2000" b="1" dirty="0" smtClean="0"/>
              <a:t>（预测方法</a:t>
            </a:r>
            <a:r>
              <a:rPr lang="zh-CN" altLang="en-US" sz="2000" b="1" dirty="0"/>
              <a:t>）的测试： </a:t>
            </a:r>
            <a:endParaRPr lang="en-US" altLang="zh-CN" sz="2000" b="1" dirty="0" smtClean="0"/>
          </a:p>
          <a:p>
            <a:r>
              <a:rPr lang="zh-CN" altLang="en-US" sz="2000" dirty="0"/>
              <a:t>在</a:t>
            </a:r>
            <a:r>
              <a:rPr lang="en-US" altLang="zh-CN" sz="2000" dirty="0" err="1"/>
              <a:t>Pixabay</a:t>
            </a:r>
            <a:r>
              <a:rPr lang="zh-CN" altLang="en-US" sz="2000" dirty="0"/>
              <a:t>重新下载了</a:t>
            </a:r>
            <a:r>
              <a:rPr lang="en-US" altLang="zh-CN" sz="2000" dirty="0"/>
              <a:t>3</a:t>
            </a:r>
            <a:r>
              <a:rPr lang="zh-CN" altLang="en-US" sz="2000" dirty="0"/>
              <a:t>张本</a:t>
            </a:r>
            <a:r>
              <a:rPr lang="zh-CN" altLang="en-US" sz="2000" dirty="0" smtClean="0"/>
              <a:t>地图片库</a:t>
            </a:r>
            <a:r>
              <a:rPr lang="zh-CN" altLang="en-US" sz="2000" dirty="0"/>
              <a:t>中不存在</a:t>
            </a:r>
            <a:r>
              <a:rPr lang="zh-CN" altLang="en-US" sz="2000" dirty="0" smtClean="0"/>
              <a:t>图片用于</a:t>
            </a:r>
            <a:r>
              <a:rPr lang="zh-CN" altLang="en-US" sz="2000" dirty="0"/>
              <a:t>测试</a:t>
            </a:r>
            <a:r>
              <a:rPr lang="en-US" altLang="zh-CN" sz="2000" dirty="0" err="1"/>
              <a:t>pd</a:t>
            </a:r>
            <a:r>
              <a:rPr lang="zh-CN" altLang="en-US" sz="2000" dirty="0"/>
              <a:t>（） 。</a:t>
            </a:r>
            <a:r>
              <a:rPr lang="zh-CN" altLang="en-US" sz="2000" dirty="0" smtClean="0"/>
              <a:t>测试</a:t>
            </a:r>
            <a:r>
              <a:rPr lang="zh-CN" altLang="en-US" sz="2000" dirty="0"/>
              <a:t>结果如下：</a:t>
            </a:r>
            <a:endParaRPr lang="en-US" altLang="zh-CN" sz="2000" dirty="0" smtClean="0"/>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09" y="2406490"/>
            <a:ext cx="3710215" cy="2473477"/>
          </a:xfrm>
          <a:prstGeom prst="rect">
            <a:avLst/>
          </a:prstGeom>
        </p:spPr>
      </p:pic>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80575" y="2406490"/>
            <a:ext cx="4229260" cy="2458258"/>
          </a:xfrm>
          <a:prstGeom prst="rect">
            <a:avLst/>
          </a:prstGeom>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97471" y="2416096"/>
            <a:ext cx="3655457" cy="2436971"/>
          </a:xfrm>
          <a:prstGeom prst="rect">
            <a:avLst/>
          </a:prstGeom>
        </p:spPr>
      </p:pic>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7409" y="4996081"/>
            <a:ext cx="3710215" cy="1130484"/>
          </a:xfrm>
          <a:prstGeom prst="rect">
            <a:avLst/>
          </a:prstGeom>
        </p:spPr>
      </p:pic>
      <p:pic>
        <p:nvPicPr>
          <p:cNvPr id="10" name="图片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80575" y="4996081"/>
            <a:ext cx="4229260" cy="1282748"/>
          </a:xfrm>
          <a:prstGeom prst="rect">
            <a:avLst/>
          </a:prstGeom>
        </p:spPr>
      </p:pic>
      <p:pic>
        <p:nvPicPr>
          <p:cNvPr id="11" name="图片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97471" y="4996081"/>
            <a:ext cx="3655457" cy="1095902"/>
          </a:xfrm>
          <a:prstGeom prst="rect">
            <a:avLst/>
          </a:prstGeom>
        </p:spPr>
      </p:pic>
    </p:spTree>
    <p:custDataLst>
      <p:tags r:id="rId1"/>
    </p:custDataLst>
    <p:extLst>
      <p:ext uri="{BB962C8B-B14F-4D97-AF65-F5344CB8AC3E}">
        <p14:creationId xmlns:p14="http://schemas.microsoft.com/office/powerpoint/2010/main" val="94684120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a:t>
            </a:r>
            <a:r>
              <a:rPr lang="en-US" altLang="zh-CN" dirty="0" smtClean="0"/>
              <a:t>MobileNet_ver4”</a:t>
            </a:r>
            <a:r>
              <a:rPr lang="zh-CN" altLang="en-US" dirty="0" smtClean="0"/>
              <a:t>实际测试效果</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5</a:t>
            </a:fld>
            <a:endParaRPr lang="zh-CN" altLang="en-US"/>
          </a:p>
        </p:txBody>
      </p:sp>
      <p:sp>
        <p:nvSpPr>
          <p:cNvPr id="5" name="文本框 4"/>
          <p:cNvSpPr txBox="1"/>
          <p:nvPr/>
        </p:nvSpPr>
        <p:spPr>
          <a:xfrm>
            <a:off x="669923" y="1430247"/>
            <a:ext cx="10535106" cy="707886"/>
          </a:xfrm>
          <a:prstGeom prst="rect">
            <a:avLst/>
          </a:prstGeom>
          <a:noFill/>
        </p:spPr>
        <p:txBody>
          <a:bodyPr wrap="square" rtlCol="0">
            <a:spAutoFit/>
          </a:bodyPr>
          <a:lstStyle/>
          <a:p>
            <a:r>
              <a:rPr lang="zh-CN" altLang="en-US" sz="2000" b="1" dirty="0" smtClean="0"/>
              <a:t>相似图片模块的</a:t>
            </a:r>
            <a:r>
              <a:rPr lang="zh-CN" altLang="en-US" sz="2000" b="1" dirty="0"/>
              <a:t>测试： </a:t>
            </a:r>
            <a:endParaRPr lang="en-US" altLang="zh-CN" sz="2000" b="1" dirty="0" smtClean="0"/>
          </a:p>
          <a:p>
            <a:r>
              <a:rPr lang="zh-CN" altLang="en-US" sz="2000" dirty="0" smtClean="0"/>
              <a:t>测试</a:t>
            </a:r>
            <a:r>
              <a:rPr lang="zh-CN" altLang="en-US" sz="2000" dirty="0"/>
              <a:t>结果如下：</a:t>
            </a:r>
            <a:endParaRPr lang="en-US" altLang="zh-CN" sz="2000" dirty="0" smtClean="0"/>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697" y="2299919"/>
            <a:ext cx="2835277" cy="3948816"/>
          </a:xfrm>
          <a:prstGeom prst="rect">
            <a:avLst/>
          </a:prstGeom>
        </p:spPr>
      </p:pic>
      <p:pic>
        <p:nvPicPr>
          <p:cNvPr id="12" name="图片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25948" y="2308191"/>
            <a:ext cx="8315513" cy="3940544"/>
          </a:xfrm>
          <a:prstGeom prst="rect">
            <a:avLst/>
          </a:prstGeom>
        </p:spPr>
      </p:pic>
    </p:spTree>
    <p:custDataLst>
      <p:tags r:id="rId1"/>
    </p:custDataLst>
    <p:extLst>
      <p:ext uri="{BB962C8B-B14F-4D97-AF65-F5344CB8AC3E}">
        <p14:creationId xmlns:p14="http://schemas.microsoft.com/office/powerpoint/2010/main" val="152560366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a:t>
            </a:r>
            <a:r>
              <a:rPr lang="en-US" altLang="zh-CN" dirty="0" smtClean="0"/>
              <a:t>MobileNet_ver4”</a:t>
            </a:r>
            <a:r>
              <a:rPr lang="zh-CN" altLang="en-US" dirty="0" smtClean="0"/>
              <a:t>实际测试效果</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6</a:t>
            </a:fld>
            <a:endParaRPr lang="zh-CN" altLang="en-US"/>
          </a:p>
        </p:txBody>
      </p:sp>
      <p:sp>
        <p:nvSpPr>
          <p:cNvPr id="5" name="文本框 4"/>
          <p:cNvSpPr txBox="1"/>
          <p:nvPr/>
        </p:nvSpPr>
        <p:spPr>
          <a:xfrm>
            <a:off x="669923" y="1430247"/>
            <a:ext cx="10535106" cy="707886"/>
          </a:xfrm>
          <a:prstGeom prst="rect">
            <a:avLst/>
          </a:prstGeom>
          <a:noFill/>
        </p:spPr>
        <p:txBody>
          <a:bodyPr wrap="square" rtlCol="0">
            <a:spAutoFit/>
          </a:bodyPr>
          <a:lstStyle/>
          <a:p>
            <a:r>
              <a:rPr lang="zh-CN" altLang="en-US" sz="2000" b="1" dirty="0" smtClean="0"/>
              <a:t>相似图片模块的</a:t>
            </a:r>
            <a:r>
              <a:rPr lang="zh-CN" altLang="en-US" sz="2000" b="1" dirty="0"/>
              <a:t>测试： </a:t>
            </a:r>
            <a:endParaRPr lang="en-US" altLang="zh-CN" sz="2000" b="1" dirty="0" smtClean="0"/>
          </a:p>
          <a:p>
            <a:r>
              <a:rPr lang="zh-CN" altLang="en-US" sz="2000" dirty="0" smtClean="0"/>
              <a:t>测试</a:t>
            </a:r>
            <a:r>
              <a:rPr lang="zh-CN" altLang="en-US" sz="2000" dirty="0"/>
              <a:t>结果如下：</a:t>
            </a:r>
            <a:endParaRPr lang="en-US" altLang="zh-CN" sz="2000" dirty="0" smtClean="0"/>
          </a:p>
        </p:txBody>
      </p:sp>
      <p:pic>
        <p:nvPicPr>
          <p:cNvPr id="6" name="图片 5"/>
          <p:cNvPicPr>
            <a:picLocks noChangeAspect="1"/>
          </p:cNvPicPr>
          <p:nvPr/>
        </p:nvPicPr>
        <p:blipFill rotWithShape="1">
          <a:blip r:embed="rId3">
            <a:extLst>
              <a:ext uri="{28A0092B-C50C-407E-A947-70E740481C1C}">
                <a14:useLocalDpi xmlns:a14="http://schemas.microsoft.com/office/drawing/2010/main" val="0"/>
              </a:ext>
            </a:extLst>
          </a:blip>
          <a:srcRect l="4419" r="3706" b="178"/>
          <a:stretch/>
        </p:blipFill>
        <p:spPr>
          <a:xfrm>
            <a:off x="289560" y="2381972"/>
            <a:ext cx="2803457" cy="3710819"/>
          </a:xfrm>
          <a:prstGeom prst="rect">
            <a:avLst/>
          </a:prstGeom>
        </p:spPr>
      </p:pic>
      <p:pic>
        <p:nvPicPr>
          <p:cNvPr id="9" name="图片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550" y="2381971"/>
            <a:ext cx="8395839" cy="3710819"/>
          </a:xfrm>
          <a:prstGeom prst="rect">
            <a:avLst/>
          </a:prstGeom>
        </p:spPr>
      </p:pic>
    </p:spTree>
    <p:custDataLst>
      <p:tags r:id="rId1"/>
    </p:custDataLst>
    <p:extLst>
      <p:ext uri="{BB962C8B-B14F-4D97-AF65-F5344CB8AC3E}">
        <p14:creationId xmlns:p14="http://schemas.microsoft.com/office/powerpoint/2010/main" val="126787672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a:t>
            </a:r>
            <a:r>
              <a:rPr lang="en-US" altLang="zh-CN" dirty="0" smtClean="0"/>
              <a:t>MobileNet_ver4”</a:t>
            </a:r>
            <a:r>
              <a:rPr lang="zh-CN" altLang="en-US" dirty="0" smtClean="0"/>
              <a:t>实际测试效果</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7</a:t>
            </a:fld>
            <a:endParaRPr lang="zh-CN" altLang="en-US"/>
          </a:p>
        </p:txBody>
      </p:sp>
      <p:sp>
        <p:nvSpPr>
          <p:cNvPr id="5" name="文本框 4"/>
          <p:cNvSpPr txBox="1"/>
          <p:nvPr/>
        </p:nvSpPr>
        <p:spPr>
          <a:xfrm>
            <a:off x="669923" y="1430247"/>
            <a:ext cx="10535106" cy="707886"/>
          </a:xfrm>
          <a:prstGeom prst="rect">
            <a:avLst/>
          </a:prstGeom>
          <a:noFill/>
        </p:spPr>
        <p:txBody>
          <a:bodyPr wrap="square" rtlCol="0">
            <a:spAutoFit/>
          </a:bodyPr>
          <a:lstStyle/>
          <a:p>
            <a:r>
              <a:rPr lang="zh-CN" altLang="en-US" sz="2000" b="1" dirty="0" smtClean="0"/>
              <a:t>相似图片模块的</a:t>
            </a:r>
            <a:r>
              <a:rPr lang="zh-CN" altLang="en-US" sz="2000" b="1" dirty="0"/>
              <a:t>测试： </a:t>
            </a:r>
            <a:endParaRPr lang="en-US" altLang="zh-CN" sz="2000" b="1" dirty="0" smtClean="0"/>
          </a:p>
          <a:p>
            <a:r>
              <a:rPr lang="zh-CN" altLang="en-US" sz="2000" dirty="0" smtClean="0"/>
              <a:t>测试</a:t>
            </a:r>
            <a:r>
              <a:rPr lang="zh-CN" altLang="en-US" sz="2000" dirty="0"/>
              <a:t>结果如下：</a:t>
            </a:r>
            <a:endParaRPr lang="en-US" altLang="zh-CN" sz="2000" dirty="0" smtClean="0"/>
          </a:p>
        </p:txBody>
      </p:sp>
      <p:pic>
        <p:nvPicPr>
          <p:cNvPr id="3" name="图片 2"/>
          <p:cNvPicPr>
            <a:picLocks noChangeAspect="1"/>
          </p:cNvPicPr>
          <p:nvPr/>
        </p:nvPicPr>
        <p:blipFill rotWithShape="1">
          <a:blip r:embed="rId3">
            <a:extLst>
              <a:ext uri="{28A0092B-C50C-407E-A947-70E740481C1C}">
                <a14:useLocalDpi xmlns:a14="http://schemas.microsoft.com/office/drawing/2010/main" val="0"/>
              </a:ext>
            </a:extLst>
          </a:blip>
          <a:srcRect l="6575" r="5702"/>
          <a:stretch/>
        </p:blipFill>
        <p:spPr>
          <a:xfrm>
            <a:off x="502283" y="2213342"/>
            <a:ext cx="2620813" cy="3836938"/>
          </a:xfrm>
          <a:prstGeom prst="rect">
            <a:avLst/>
          </a:prstGeom>
        </p:spPr>
      </p:pic>
      <p:pic>
        <p:nvPicPr>
          <p:cNvPr id="8" name="图片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4260" y="2213341"/>
            <a:ext cx="8650223" cy="3836939"/>
          </a:xfrm>
          <a:prstGeom prst="rect">
            <a:avLst/>
          </a:prstGeom>
        </p:spPr>
      </p:pic>
    </p:spTree>
    <p:custDataLst>
      <p:tags r:id="rId1"/>
    </p:custDataLst>
    <p:extLst>
      <p:ext uri="{BB962C8B-B14F-4D97-AF65-F5344CB8AC3E}">
        <p14:creationId xmlns:p14="http://schemas.microsoft.com/office/powerpoint/2010/main" val="135758306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1"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7200" dirty="0">
                <a:gradFill>
                  <a:gsLst>
                    <a:gs pos="100000">
                      <a:srgbClr val="FF5B5B"/>
                    </a:gs>
                    <a:gs pos="14000">
                      <a:srgbClr val="D00000"/>
                    </a:gs>
                  </a:gsLst>
                  <a:lin ang="2700000" scaled="1"/>
                </a:gradFill>
              </a:rPr>
              <a:t>Thanks</a:t>
            </a:r>
            <a:r>
              <a:rPr lang="en-US" altLang="zh-CN" sz="7200" dirty="0"/>
              <a:t/>
            </a:r>
            <a:br>
              <a:rPr lang="en-US" altLang="zh-CN" sz="7200" dirty="0"/>
            </a:br>
            <a:endParaRPr lang="zh-CN" altLang="en-US" dirty="0"/>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注册页面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5" name="图片 1"/>
          <p:cNvPicPr>
            <a:picLocks noChangeAspect="1"/>
          </p:cNvPicPr>
          <p:nvPr/>
        </p:nvPicPr>
        <p:blipFill>
          <a:blip r:embed="rId3"/>
          <a:stretch>
            <a:fillRect/>
          </a:stretch>
        </p:blipFill>
        <p:spPr>
          <a:xfrm>
            <a:off x="0" y="1028700"/>
            <a:ext cx="4961890" cy="3361690"/>
          </a:xfrm>
          <a:prstGeom prst="rect">
            <a:avLst/>
          </a:prstGeom>
          <a:noFill/>
          <a:ln w="9525">
            <a:noFill/>
          </a:ln>
        </p:spPr>
      </p:pic>
      <p:pic>
        <p:nvPicPr>
          <p:cNvPr id="6" name="图片 -2147482544" descr="3I]%H24Q9GH@75JQ{ROZA{D"/>
          <p:cNvPicPr>
            <a:picLocks noChangeAspect="1"/>
          </p:cNvPicPr>
          <p:nvPr/>
        </p:nvPicPr>
        <p:blipFill>
          <a:blip r:embed="rId4"/>
          <a:stretch>
            <a:fillRect/>
          </a:stretch>
        </p:blipFill>
        <p:spPr>
          <a:xfrm>
            <a:off x="6621145" y="1028700"/>
            <a:ext cx="4086225" cy="4421505"/>
          </a:xfrm>
          <a:prstGeom prst="rect">
            <a:avLst/>
          </a:prstGeom>
          <a:noFill/>
          <a:ln w="9525">
            <a:noFill/>
          </a:ln>
        </p:spPr>
      </p:pic>
      <p:sp>
        <p:nvSpPr>
          <p:cNvPr id="3" name="文本框 2"/>
          <p:cNvSpPr txBox="1"/>
          <p:nvPr/>
        </p:nvSpPr>
        <p:spPr>
          <a:xfrm>
            <a:off x="912495" y="5045075"/>
            <a:ext cx="3611880" cy="645160"/>
          </a:xfrm>
          <a:prstGeom prst="rect">
            <a:avLst/>
          </a:prstGeom>
          <a:noFill/>
        </p:spPr>
        <p:txBody>
          <a:bodyPr wrap="none" rtlCol="0">
            <a:spAutoFit/>
          </a:bodyPr>
          <a:lstStyle/>
          <a:p>
            <a:pPr algn="l"/>
            <a:r>
              <a:rPr lang="zh-CN" altLang="en-US"/>
              <a:t>用户点击注册按钮，输入用户名、</a:t>
            </a:r>
          </a:p>
          <a:p>
            <a:pPr algn="l"/>
            <a:r>
              <a:rPr lang="zh-CN" altLang="en-US"/>
              <a:t>邮箱、密码，完成注册。</a:t>
            </a:r>
          </a:p>
        </p:txBody>
      </p:sp>
    </p:spTree>
    <p:custDataLst>
      <p:tags r:id="rId1"/>
    </p:custDataLst>
    <p:extLst>
      <p:ext uri="{BB962C8B-B14F-4D97-AF65-F5344CB8AC3E}">
        <p14:creationId xmlns:p14="http://schemas.microsoft.com/office/powerpoint/2010/main" val="34167163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关注功能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5" name="图片 1"/>
          <p:cNvPicPr>
            <a:picLocks noChangeAspect="1"/>
          </p:cNvPicPr>
          <p:nvPr/>
        </p:nvPicPr>
        <p:blipFill>
          <a:blip r:embed="rId3"/>
          <a:stretch>
            <a:fillRect/>
          </a:stretch>
        </p:blipFill>
        <p:spPr>
          <a:xfrm>
            <a:off x="0" y="1028700"/>
            <a:ext cx="5502910" cy="3811270"/>
          </a:xfrm>
          <a:prstGeom prst="rect">
            <a:avLst/>
          </a:prstGeom>
          <a:noFill/>
          <a:ln w="9525">
            <a:noFill/>
          </a:ln>
        </p:spPr>
      </p:pic>
      <p:pic>
        <p:nvPicPr>
          <p:cNvPr id="6" name="Picture 1"/>
          <p:cNvPicPr>
            <a:picLocks noChangeAspect="1"/>
          </p:cNvPicPr>
          <p:nvPr/>
        </p:nvPicPr>
        <p:blipFill>
          <a:blip r:embed="rId4"/>
          <a:stretch>
            <a:fillRect/>
          </a:stretch>
        </p:blipFill>
        <p:spPr>
          <a:xfrm>
            <a:off x="6294438" y="1028700"/>
            <a:ext cx="5305425" cy="1760220"/>
          </a:xfrm>
          <a:prstGeom prst="rect">
            <a:avLst/>
          </a:prstGeom>
          <a:noFill/>
          <a:ln w="9525">
            <a:noFill/>
          </a:ln>
        </p:spPr>
      </p:pic>
      <p:pic>
        <p:nvPicPr>
          <p:cNvPr id="7" name="Picture 1"/>
          <p:cNvPicPr>
            <a:picLocks noChangeAspect="1"/>
          </p:cNvPicPr>
          <p:nvPr/>
        </p:nvPicPr>
        <p:blipFill>
          <a:blip r:embed="rId5"/>
          <a:stretch>
            <a:fillRect/>
          </a:stretch>
        </p:blipFill>
        <p:spPr>
          <a:xfrm>
            <a:off x="6275388" y="3167380"/>
            <a:ext cx="5343525" cy="1962150"/>
          </a:xfrm>
          <a:prstGeom prst="rect">
            <a:avLst/>
          </a:prstGeom>
          <a:noFill/>
          <a:ln w="9525">
            <a:noFill/>
          </a:ln>
        </p:spPr>
      </p:pic>
      <p:sp>
        <p:nvSpPr>
          <p:cNvPr id="3" name="文本框 2"/>
          <p:cNvSpPr txBox="1"/>
          <p:nvPr/>
        </p:nvSpPr>
        <p:spPr>
          <a:xfrm>
            <a:off x="669925" y="5129530"/>
            <a:ext cx="4526280" cy="922020"/>
          </a:xfrm>
          <a:prstGeom prst="rect">
            <a:avLst/>
          </a:prstGeom>
          <a:noFill/>
        </p:spPr>
        <p:txBody>
          <a:bodyPr wrap="none" rtlCol="0">
            <a:spAutoFit/>
          </a:bodyPr>
          <a:lstStyle/>
          <a:p>
            <a:pPr algn="l"/>
            <a:r>
              <a:rPr lang="zh-CN" altLang="en-US"/>
              <a:t>粉丝用户点击关注按钮，如果当前没有关注</a:t>
            </a:r>
          </a:p>
          <a:p>
            <a:pPr algn="l"/>
            <a:r>
              <a:rPr lang="zh-CN" altLang="en-US"/>
              <a:t>目标用户，则关注目标用户。如果已经关注</a:t>
            </a:r>
          </a:p>
          <a:p>
            <a:pPr algn="l"/>
            <a:r>
              <a:rPr lang="zh-CN" altLang="en-US"/>
              <a:t>了目标用户，则取消关注目标用户。</a:t>
            </a:r>
          </a:p>
        </p:txBody>
      </p:sp>
    </p:spTree>
    <p:custDataLst>
      <p:tags r:id="rId1"/>
    </p:custDataLst>
    <p:extLst>
      <p:ext uri="{BB962C8B-B14F-4D97-AF65-F5344CB8AC3E}">
        <p14:creationId xmlns:p14="http://schemas.microsoft.com/office/powerpoint/2010/main" val="28713260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修改用户信息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5" name="图片 1"/>
          <p:cNvPicPr>
            <a:picLocks noChangeAspect="1"/>
          </p:cNvPicPr>
          <p:nvPr/>
        </p:nvPicPr>
        <p:blipFill>
          <a:blip r:embed="rId3"/>
          <a:stretch>
            <a:fillRect/>
          </a:stretch>
        </p:blipFill>
        <p:spPr>
          <a:xfrm>
            <a:off x="0" y="1028700"/>
            <a:ext cx="5495925" cy="3685540"/>
          </a:xfrm>
          <a:prstGeom prst="rect">
            <a:avLst/>
          </a:prstGeom>
          <a:noFill/>
          <a:ln w="9525">
            <a:noFill/>
          </a:ln>
        </p:spPr>
      </p:pic>
      <p:pic>
        <p:nvPicPr>
          <p:cNvPr id="1073742850" name="图片 1"/>
          <p:cNvPicPr>
            <a:picLocks noChangeAspect="1"/>
          </p:cNvPicPr>
          <p:nvPr/>
        </p:nvPicPr>
        <p:blipFill>
          <a:blip r:embed="rId4"/>
          <a:stretch>
            <a:fillRect/>
          </a:stretch>
        </p:blipFill>
        <p:spPr>
          <a:xfrm>
            <a:off x="5495608" y="1028383"/>
            <a:ext cx="6696075" cy="3686175"/>
          </a:xfrm>
          <a:prstGeom prst="rect">
            <a:avLst/>
          </a:prstGeom>
          <a:noFill/>
          <a:ln w="9525">
            <a:noFill/>
          </a:ln>
        </p:spPr>
      </p:pic>
      <p:sp>
        <p:nvSpPr>
          <p:cNvPr id="3" name="文本框 2"/>
          <p:cNvSpPr txBox="1"/>
          <p:nvPr/>
        </p:nvSpPr>
        <p:spPr>
          <a:xfrm>
            <a:off x="562610" y="4714875"/>
            <a:ext cx="10640695" cy="1476375"/>
          </a:xfrm>
          <a:prstGeom prst="rect">
            <a:avLst/>
          </a:prstGeom>
          <a:noFill/>
        </p:spPr>
        <p:txBody>
          <a:bodyPr wrap="square" rtlCol="0">
            <a:spAutoFit/>
          </a:bodyPr>
          <a:lstStyle/>
          <a:p>
            <a:pPr algn="l"/>
            <a:r>
              <a:rPr lang="zh-CN" altLang="en-US"/>
              <a:t>个人信息页面，个人信息页面储存了个人的基本信息，其中用户名，姓名，性别，邮箱和个人简介是必填项。进入个人信息界面后，必填项的基本信息会展示在相应的输入框中，其他项的值为默认值。信息通过修改后可以保存提交到数据库中，每次进入个人信息界面都会返回最新的个人信息。</a:t>
            </a:r>
          </a:p>
          <a:p>
            <a:pPr algn="l"/>
            <a:r>
              <a:rPr lang="zh-CN" altLang="en-US"/>
              <a:t>用户点击个人主页，如果已经登录， 如果没有权限，返回登录页面。</a:t>
            </a:r>
          </a:p>
          <a:p>
            <a:pPr algn="l"/>
            <a:r>
              <a:rPr lang="zh-CN" altLang="en-US"/>
              <a:t>若拥有权限，可对个人信息进行修改，修改后点击保存即可保存个人信息。</a:t>
            </a:r>
          </a:p>
        </p:txBody>
      </p:sp>
    </p:spTree>
    <p:custDataLst>
      <p:tags r:id="rId1"/>
    </p:custDataLst>
    <p:extLst>
      <p:ext uri="{BB962C8B-B14F-4D97-AF65-F5344CB8AC3E}">
        <p14:creationId xmlns:p14="http://schemas.microsoft.com/office/powerpoint/2010/main" val="17732805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用户图片页面设计</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9</a:t>
            </a:fld>
            <a:endParaRPr lang="zh-CN" altLang="en-US"/>
          </a:p>
        </p:txBody>
      </p:sp>
      <p:pic>
        <p:nvPicPr>
          <p:cNvPr id="5" name="图片 -2147482612" descr="DA`{_XMYBP6J_$CHB5M1V%V"/>
          <p:cNvPicPr>
            <a:picLocks noChangeAspect="1"/>
          </p:cNvPicPr>
          <p:nvPr/>
        </p:nvPicPr>
        <p:blipFill>
          <a:blip r:embed="rId3"/>
          <a:stretch>
            <a:fillRect/>
          </a:stretch>
        </p:blipFill>
        <p:spPr>
          <a:xfrm>
            <a:off x="0" y="1302385"/>
            <a:ext cx="5068570" cy="3942715"/>
          </a:xfrm>
          <a:prstGeom prst="rect">
            <a:avLst/>
          </a:prstGeom>
          <a:noFill/>
          <a:ln w="9525">
            <a:noFill/>
          </a:ln>
        </p:spPr>
      </p:pic>
      <p:sp>
        <p:nvSpPr>
          <p:cNvPr id="3" name="文本框 2"/>
          <p:cNvSpPr txBox="1"/>
          <p:nvPr/>
        </p:nvSpPr>
        <p:spPr>
          <a:xfrm>
            <a:off x="669925" y="5160010"/>
            <a:ext cx="9497060" cy="1476375"/>
          </a:xfrm>
          <a:prstGeom prst="rect">
            <a:avLst/>
          </a:prstGeom>
          <a:noFill/>
        </p:spPr>
        <p:txBody>
          <a:bodyPr wrap="square" rtlCol="0" anchor="t">
            <a:spAutoFit/>
          </a:bodyPr>
          <a:lstStyle/>
          <a:p>
            <a:r>
              <a:rPr lang="zh-CN" altLang="en-US"/>
              <a:t>在个人图片主页中，以清晰的视图展示该用户的基本信息（包括用户头像，用户昵称）。用户可以在基本信息板块的状态栏中，查看自己的粉丝数量，图片被收藏数，收获的评论数以及获得的点赞数。</a:t>
            </a:r>
          </a:p>
          <a:p>
            <a:r>
              <a:rPr lang="zh-CN" altLang="en-US"/>
              <a:t>在下方的两个选项卡中，用户可以通过切换选项卡的方式，查看自己上传的所有图片或是收藏的所有图片，点击其中的图片可以直接跳转到该图片的展示页面，进行评论、购买等操作。</a:t>
            </a:r>
          </a:p>
        </p:txBody>
      </p:sp>
      <p:pic>
        <p:nvPicPr>
          <p:cNvPr id="6" name="图片 1"/>
          <p:cNvPicPr>
            <a:picLocks noChangeAspect="1"/>
          </p:cNvPicPr>
          <p:nvPr/>
        </p:nvPicPr>
        <p:blipFill>
          <a:blip r:embed="rId4"/>
          <a:stretch>
            <a:fillRect/>
          </a:stretch>
        </p:blipFill>
        <p:spPr>
          <a:xfrm>
            <a:off x="5718175" y="1588770"/>
            <a:ext cx="5947410" cy="3016250"/>
          </a:xfrm>
          <a:prstGeom prst="rect">
            <a:avLst/>
          </a:prstGeom>
          <a:noFill/>
          <a:ln w="9525">
            <a:noFill/>
          </a:ln>
        </p:spPr>
      </p:pic>
    </p:spTree>
    <p:custDataLst>
      <p:tags r:id="rId1"/>
    </p:custDataLst>
    <p:extLst>
      <p:ext uri="{BB962C8B-B14F-4D97-AF65-F5344CB8AC3E}">
        <p14:creationId xmlns:p14="http://schemas.microsoft.com/office/powerpoint/2010/main" val="27664874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62874"/>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3.xml><?xml version="1.0" encoding="utf-8"?>
<p:tagLst xmlns:a="http://schemas.openxmlformats.org/drawingml/2006/main" xmlns:r="http://schemas.openxmlformats.org/officeDocument/2006/relationships" xmlns:p="http://schemas.openxmlformats.org/presentationml/2006/main">
  <p:tag name="ISLIDE.DIAGRAM" val="#468013;"/>
  <p:tag name="ISLIDE.ICON" val="#370650;#394006;#12874;"/>
</p:tagLst>
</file>

<file path=ppt/tags/tag24.xml><?xml version="1.0" encoding="utf-8"?>
<p:tagLst xmlns:a="http://schemas.openxmlformats.org/drawingml/2006/main" xmlns:r="http://schemas.openxmlformats.org/officeDocument/2006/relationships" xmlns:p="http://schemas.openxmlformats.org/presentationml/2006/main">
  <p:tag name="ISLIDE.DIAGRAM" val="#468013"/>
</p:tagLst>
</file>

<file path=ppt/tags/tag2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6.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27.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28.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29.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0.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1.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2.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3.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4.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5.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6.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7.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8.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39.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4.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40.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41.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42.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43.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44.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45.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46.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47.xml><?xml version="1.0" encoding="utf-8"?>
<p:tagLst xmlns:a="http://schemas.openxmlformats.org/drawingml/2006/main" xmlns:r="http://schemas.openxmlformats.org/officeDocument/2006/relationships" xmlns:p="http://schemas.openxmlformats.org/presentationml/2006/main">
  <p:tag name="ISLIDE.SMARTDIAGRAM" val="#343157;"/>
</p:tagLst>
</file>

<file path=ppt/tags/tag48.xml><?xml version="1.0" encoding="utf-8"?>
<p:tagLst xmlns:a="http://schemas.openxmlformats.org/drawingml/2006/main" xmlns:r="http://schemas.openxmlformats.org/officeDocument/2006/relationships" xmlns:p="http://schemas.openxmlformats.org/presentationml/2006/main">
  <p:tag name="ISLIDE.SMARTDIAGRAM" val="#343157;"/>
  <p:tag name="ISLIDE.ICON" val="#407148;#407148;#407148;"/>
</p:tagLst>
</file>

<file path=ppt/tags/tag49.xml><?xml version="1.0" encoding="utf-8"?>
<p:tagLst xmlns:a="http://schemas.openxmlformats.org/drawingml/2006/main" xmlns:r="http://schemas.openxmlformats.org/officeDocument/2006/relationships" xmlns:p="http://schemas.openxmlformats.org/presentationml/2006/main">
  <p:tag name="ISLIDE.SMARTDIAGRAM" val="#343157;"/>
  <p:tag name="ISLIDE.ICON" val="#407148;#407148;#407148;"/>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0.xml><?xml version="1.0" encoding="utf-8"?>
<p:tagLst xmlns:a="http://schemas.openxmlformats.org/drawingml/2006/main" xmlns:r="http://schemas.openxmlformats.org/officeDocument/2006/relationships" xmlns:p="http://schemas.openxmlformats.org/presentationml/2006/main">
  <p:tag name="ISLIDE.DIAGRAM" val="#463128;"/>
</p:tagLst>
</file>

<file path=ppt/tags/tag51.xml><?xml version="1.0" encoding="utf-8"?>
<p:tagLst xmlns:a="http://schemas.openxmlformats.org/drawingml/2006/main" xmlns:r="http://schemas.openxmlformats.org/officeDocument/2006/relationships" xmlns:p="http://schemas.openxmlformats.org/presentationml/2006/main">
  <p:tag name="ISLIDE.DIAGRAM" val="#463128"/>
</p:tagLst>
</file>

<file path=ppt/tags/tag52.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53.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54.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55.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56.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57.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58.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59.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0.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61.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62.xml><?xml version="1.0" encoding="utf-8"?>
<p:tagLst xmlns:a="http://schemas.openxmlformats.org/drawingml/2006/main" xmlns:r="http://schemas.openxmlformats.org/officeDocument/2006/relationships" xmlns:p="http://schemas.openxmlformats.org/presentationml/2006/main">
  <p:tag name="ISLIDE.THEME" val="https://www.islide.cc;"/>
  <p:tag name="ISLIDE.ICON" val="#394096;#149862;"/>
</p:tagLst>
</file>

<file path=ppt/tags/tag6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4823,&quot;width&quot;:9822}"/>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D1DCFF"/>
      </a:accent1>
      <a:accent2>
        <a:srgbClr val="627D8A"/>
      </a:accent2>
      <a:accent3>
        <a:srgbClr val="9BBCB8"/>
      </a:accent3>
      <a:accent4>
        <a:srgbClr val="2FA862"/>
      </a:accent4>
      <a:accent5>
        <a:srgbClr val="7DBD79"/>
      </a:accent5>
      <a:accent6>
        <a:srgbClr val="C9C9C9"/>
      </a:accent6>
      <a:hlink>
        <a:srgbClr val="D1DCFF"/>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D1DCFF"/>
    </a:accent1>
    <a:accent2>
      <a:srgbClr val="627D8A"/>
    </a:accent2>
    <a:accent3>
      <a:srgbClr val="9BBCB8"/>
    </a:accent3>
    <a:accent4>
      <a:srgbClr val="2FA862"/>
    </a:accent4>
    <a:accent5>
      <a:srgbClr val="7DBD79"/>
    </a:accent5>
    <a:accent6>
      <a:srgbClr val="C9C9C9"/>
    </a:accent6>
    <a:hlink>
      <a:srgbClr val="D1DCFF"/>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D1DCFF"/>
    </a:accent1>
    <a:accent2>
      <a:srgbClr val="627D8A"/>
    </a:accent2>
    <a:accent3>
      <a:srgbClr val="9BBCB8"/>
    </a:accent3>
    <a:accent4>
      <a:srgbClr val="2FA862"/>
    </a:accent4>
    <a:accent5>
      <a:srgbClr val="7DBD79"/>
    </a:accent5>
    <a:accent6>
      <a:srgbClr val="C9C9C9"/>
    </a:accent6>
    <a:hlink>
      <a:srgbClr val="D1DCFF"/>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78495"/>
    </a:dk2>
    <a:lt2>
      <a:srgbClr val="F0F0F0"/>
    </a:lt2>
    <a:accent1>
      <a:srgbClr val="D1DCFF"/>
    </a:accent1>
    <a:accent2>
      <a:srgbClr val="627D8A"/>
    </a:accent2>
    <a:accent3>
      <a:srgbClr val="9BBCB8"/>
    </a:accent3>
    <a:accent4>
      <a:srgbClr val="2FA862"/>
    </a:accent4>
    <a:accent5>
      <a:srgbClr val="7DBD79"/>
    </a:accent5>
    <a:accent6>
      <a:srgbClr val="C9C9C9"/>
    </a:accent6>
    <a:hlink>
      <a:srgbClr val="D1DCFF"/>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78495"/>
    </a:dk2>
    <a:lt2>
      <a:srgbClr val="F0F0F0"/>
    </a:lt2>
    <a:accent1>
      <a:srgbClr val="D1DCFF"/>
    </a:accent1>
    <a:accent2>
      <a:srgbClr val="627D8A"/>
    </a:accent2>
    <a:accent3>
      <a:srgbClr val="9BBCB8"/>
    </a:accent3>
    <a:accent4>
      <a:srgbClr val="2FA862"/>
    </a:accent4>
    <a:accent5>
      <a:srgbClr val="7DBD79"/>
    </a:accent5>
    <a:accent6>
      <a:srgbClr val="C9C9C9"/>
    </a:accent6>
    <a:hlink>
      <a:srgbClr val="D1DCFF"/>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78495"/>
    </a:dk2>
    <a:lt2>
      <a:srgbClr val="F0F0F0"/>
    </a:lt2>
    <a:accent1>
      <a:srgbClr val="1F5CFA"/>
    </a:accent1>
    <a:accent2>
      <a:srgbClr val="0CE6DA"/>
    </a:accent2>
    <a:accent3>
      <a:srgbClr val="FF743E"/>
    </a:accent3>
    <a:accent4>
      <a:srgbClr val="654BE3"/>
    </a:accent4>
    <a:accent5>
      <a:srgbClr val="33E69C"/>
    </a:accent5>
    <a:accent6>
      <a:srgbClr val="F84D4D"/>
    </a:accent6>
    <a:hlink>
      <a:srgbClr val="1B4939"/>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78495"/>
    </a:dk2>
    <a:lt2>
      <a:srgbClr val="F0F0F0"/>
    </a:lt2>
    <a:accent1>
      <a:srgbClr val="D1DCFF"/>
    </a:accent1>
    <a:accent2>
      <a:srgbClr val="627D8A"/>
    </a:accent2>
    <a:accent3>
      <a:srgbClr val="9BBCB8"/>
    </a:accent3>
    <a:accent4>
      <a:srgbClr val="2FA862"/>
    </a:accent4>
    <a:accent5>
      <a:srgbClr val="7DBD79"/>
    </a:accent5>
    <a:accent6>
      <a:srgbClr val="C9C9C9"/>
    </a:accent6>
    <a:hlink>
      <a:srgbClr val="D1DCFF"/>
    </a:hlink>
    <a:folHlink>
      <a:srgbClr val="BFBFBF"/>
    </a:folHlink>
  </a:clrScheme>
</a:themeOverride>
</file>

<file path=ppt/theme/themeOverride8.xml><?xml version="1.0" encoding="utf-8"?>
<a:themeOverride xmlns:a="http://schemas.openxmlformats.org/drawingml/2006/main">
  <a:clrScheme name="房利美">
    <a:dk1>
      <a:srgbClr val="000000"/>
    </a:dk1>
    <a:lt1>
      <a:srgbClr val="FFFFFF"/>
    </a:lt1>
    <a:dk2>
      <a:srgbClr val="778495"/>
    </a:dk2>
    <a:lt2>
      <a:srgbClr val="F0F0F0"/>
    </a:lt2>
    <a:accent1>
      <a:srgbClr val="D1DCFF"/>
    </a:accent1>
    <a:accent2>
      <a:srgbClr val="627D8A"/>
    </a:accent2>
    <a:accent3>
      <a:srgbClr val="9BBCB8"/>
    </a:accent3>
    <a:accent4>
      <a:srgbClr val="2FA862"/>
    </a:accent4>
    <a:accent5>
      <a:srgbClr val="7DBD79"/>
    </a:accent5>
    <a:accent6>
      <a:srgbClr val="C9C9C9"/>
    </a:accent6>
    <a:hlink>
      <a:srgbClr val="D1DCFF"/>
    </a:hlink>
    <a:folHlink>
      <a:srgbClr val="BFBFBF"/>
    </a:folHlink>
  </a:clrScheme>
</a:themeOverride>
</file>

<file path=ppt/theme/themeOverride9.xml><?xml version="1.0" encoding="utf-8"?>
<a:themeOverride xmlns:a="http://schemas.openxmlformats.org/drawingml/2006/main">
  <a:clrScheme name="房利美">
    <a:dk1>
      <a:srgbClr val="000000"/>
    </a:dk1>
    <a:lt1>
      <a:srgbClr val="FFFFFF"/>
    </a:lt1>
    <a:dk2>
      <a:srgbClr val="778495"/>
    </a:dk2>
    <a:lt2>
      <a:srgbClr val="F0F0F0"/>
    </a:lt2>
    <a:accent1>
      <a:srgbClr val="D1DCFF"/>
    </a:accent1>
    <a:accent2>
      <a:srgbClr val="627D8A"/>
    </a:accent2>
    <a:accent3>
      <a:srgbClr val="9BBCB8"/>
    </a:accent3>
    <a:accent4>
      <a:srgbClr val="2FA862"/>
    </a:accent4>
    <a:accent5>
      <a:srgbClr val="7DBD79"/>
    </a:accent5>
    <a:accent6>
      <a:srgbClr val="C9C9C9"/>
    </a:accent6>
    <a:hlink>
      <a:srgbClr val="D1DCFF"/>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38</TotalTime>
  <Words>2848</Words>
  <Application>Microsoft Office PowerPoint</Application>
  <PresentationFormat>宽屏</PresentationFormat>
  <Paragraphs>600</Paragraphs>
  <Slides>58</Slides>
  <Notes>0</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58</vt:i4>
      </vt:variant>
    </vt:vector>
  </HeadingPairs>
  <TitlesOfParts>
    <vt:vector size="69" baseType="lpstr">
      <vt:lpstr>等线</vt:lpstr>
      <vt:lpstr>等线 Light</vt:lpstr>
      <vt:lpstr>宋体</vt:lpstr>
      <vt:lpstr>微软雅黑</vt:lpstr>
      <vt:lpstr>Arial</vt:lpstr>
      <vt:lpstr>Calibri</vt:lpstr>
      <vt:lpstr>Consolas</vt:lpstr>
      <vt:lpstr>Impact</vt:lpstr>
      <vt:lpstr>Times New Roman</vt:lpstr>
      <vt:lpstr>主题5</vt:lpstr>
      <vt:lpstr>think-cell Slide</vt:lpstr>
      <vt:lpstr>数据库课程设计 Pic Community ——with Deep Learning</vt:lpstr>
      <vt:lpstr>PowerPoint 演示文稿</vt:lpstr>
      <vt:lpstr>项目概述</vt:lpstr>
      <vt:lpstr>前端功能</vt:lpstr>
      <vt:lpstr>登录页面设计</vt:lpstr>
      <vt:lpstr>注册页面设计</vt:lpstr>
      <vt:lpstr>关注功能设计</vt:lpstr>
      <vt:lpstr>修改用户信息设计</vt:lpstr>
      <vt:lpstr>用户图片页面设计</vt:lpstr>
      <vt:lpstr>钱包充值功能设计</vt:lpstr>
      <vt:lpstr>图片上传功能设计</vt:lpstr>
      <vt:lpstr>图片购买&amp;下载功能设计</vt:lpstr>
      <vt:lpstr>评论图片功能设计</vt:lpstr>
      <vt:lpstr>图片收藏功能设计</vt:lpstr>
      <vt:lpstr>图片点赞功能设计</vt:lpstr>
      <vt:lpstr>根据“tag”搜索图片功能设计</vt:lpstr>
      <vt:lpstr>2.14根据图片查找相似图片功能设计</vt:lpstr>
      <vt:lpstr>发布和查看博客功能设计</vt:lpstr>
      <vt:lpstr>后端功能</vt:lpstr>
      <vt:lpstr>后端功能介绍</vt:lpstr>
      <vt:lpstr>Use "Title Only" Lay out</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AI功能与设计</vt:lpstr>
      <vt:lpstr>数据采集</vt:lpstr>
      <vt:lpstr>数据采集</vt:lpstr>
      <vt:lpstr>MobileNet_ver1 的构建</vt:lpstr>
      <vt:lpstr>MobileNet_ver1 的构建</vt:lpstr>
      <vt:lpstr>MobileNet_ver1 的构建</vt:lpstr>
      <vt:lpstr>MobileNet_ver1 的构建</vt:lpstr>
      <vt:lpstr>“MobileNet_verN”迭代管理模块的设计</vt:lpstr>
      <vt:lpstr>“MobileNet_verN”迭代管理模块的设计</vt:lpstr>
      <vt:lpstr>“MobileNet_ver4”实际测试效果</vt:lpstr>
      <vt:lpstr>“MobileNet_ver4”实际测试效果</vt:lpstr>
      <vt:lpstr>“MobileNet_ver4”实际测试效果</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谭 忠煜</cp:lastModifiedBy>
  <cp:revision>16</cp:revision>
  <cp:lastPrinted>2019-03-18T16:00:00Z</cp:lastPrinted>
  <dcterms:created xsi:type="dcterms:W3CDTF">2019-03-18T16:00:00Z</dcterms:created>
  <dcterms:modified xsi:type="dcterms:W3CDTF">2020-09-19T16:4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